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76" r:id="rId4"/>
    <p:sldId id="289" r:id="rId5"/>
    <p:sldId id="259" r:id="rId6"/>
    <p:sldId id="260" r:id="rId7"/>
    <p:sldId id="262" r:id="rId8"/>
    <p:sldId id="275" r:id="rId9"/>
    <p:sldId id="274" r:id="rId10"/>
    <p:sldId id="264" r:id="rId11"/>
    <p:sldId id="269" r:id="rId12"/>
    <p:sldId id="268" r:id="rId13"/>
    <p:sldId id="270" r:id="rId14"/>
    <p:sldId id="272" r:id="rId15"/>
    <p:sldId id="273" r:id="rId16"/>
    <p:sldId id="271" r:id="rId17"/>
    <p:sldId id="286" r:id="rId18"/>
    <p:sldId id="283" r:id="rId19"/>
    <p:sldId id="285" r:id="rId20"/>
    <p:sldId id="287" r:id="rId21"/>
    <p:sldId id="277" r:id="rId22"/>
    <p:sldId id="278" r:id="rId23"/>
    <p:sldId id="279" r:id="rId24"/>
    <p:sldId id="280" r:id="rId25"/>
    <p:sldId id="281" r:id="rId26"/>
    <p:sldId id="288" r:id="rId27"/>
    <p:sldId id="282" r:id="rId28"/>
    <p:sldId id="291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61" d="100"/>
          <a:sy n="161" d="100"/>
        </p:scale>
        <p:origin x="150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1F0594-70CC-42B8-8996-305585872F54}" type="doc">
      <dgm:prSet loTypeId="urn:microsoft.com/office/officeart/2009/3/layout/HorizontalOrganizationChart" loCatId="hierarchy" qsTypeId="urn:microsoft.com/office/officeart/2005/8/quickstyle/simple3" qsCatId="simple" csTypeId="urn:microsoft.com/office/officeart/2005/8/colors/accent1_4" csCatId="accent1" phldr="1"/>
      <dgm:spPr/>
      <dgm:t>
        <a:bodyPr/>
        <a:lstStyle/>
        <a:p>
          <a:endParaRPr lang="nb-NO"/>
        </a:p>
      </dgm:t>
    </dgm:pt>
    <dgm:pt modelId="{31F85546-E8FD-485F-88AB-D61C7F386EB1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Programledelse</a:t>
          </a:r>
        </a:p>
      </dgm:t>
    </dgm:pt>
    <dgm:pt modelId="{65D8EB40-510D-4C9B-8A21-C924BFF17640}" type="parTrans" cxnId="{A3FCAFCF-305A-4335-BED9-90CE12A9EA78}">
      <dgm:prSet/>
      <dgm:spPr/>
      <dgm:t>
        <a:bodyPr/>
        <a:lstStyle/>
        <a:p>
          <a:endParaRPr lang="nb-NO"/>
        </a:p>
      </dgm:t>
    </dgm:pt>
    <dgm:pt modelId="{6469CE69-D19A-47F1-B2EB-0209A29BF9D5}" type="sibTrans" cxnId="{A3FCAFCF-305A-4335-BED9-90CE12A9EA78}">
      <dgm:prSet/>
      <dgm:spPr/>
      <dgm:t>
        <a:bodyPr/>
        <a:lstStyle/>
        <a:p>
          <a:endParaRPr lang="nb-NO"/>
        </a:p>
      </dgm:t>
    </dgm:pt>
    <dgm:pt modelId="{61A116CC-E5A9-4B9F-A72B-B26A153B62E3}" type="asst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Arkitektur og design </a:t>
          </a:r>
        </a:p>
      </dgm:t>
    </dgm:pt>
    <dgm:pt modelId="{A835D7EF-48C6-42DD-BC69-BCD136E2D3F9}" type="parTrans" cxnId="{73632597-DC1F-46E8-A72F-FDFE4740ADBE}">
      <dgm:prSet/>
      <dgm:spPr/>
      <dgm:t>
        <a:bodyPr/>
        <a:lstStyle/>
        <a:p>
          <a:endParaRPr lang="nb-NO"/>
        </a:p>
      </dgm:t>
    </dgm:pt>
    <dgm:pt modelId="{C9B1D396-4A19-44B6-94AE-D29DD0E8D0EA}" type="sibTrans" cxnId="{73632597-DC1F-46E8-A72F-FDFE4740ADBE}">
      <dgm:prSet/>
      <dgm:spPr/>
      <dgm:t>
        <a:bodyPr/>
        <a:lstStyle/>
        <a:p>
          <a:endParaRPr lang="nb-NO"/>
        </a:p>
      </dgm:t>
    </dgm:pt>
    <dgm:pt modelId="{711044E5-7A0D-4E1C-BA06-7195565F6C19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Medikamentell kreftbehandling </a:t>
          </a:r>
        </a:p>
      </dgm:t>
    </dgm:pt>
    <dgm:pt modelId="{6516D2E0-1D83-40C2-B0FB-57BF507D6A51}" type="parTrans" cxnId="{19DE5505-063D-40F8-8E5B-12D0A3F2B585}">
      <dgm:prSet/>
      <dgm:spPr/>
      <dgm:t>
        <a:bodyPr/>
        <a:lstStyle/>
        <a:p>
          <a:endParaRPr lang="nb-NO"/>
        </a:p>
      </dgm:t>
    </dgm:pt>
    <dgm:pt modelId="{776DDEFF-3A18-4D83-9F5F-64D51065F294}" type="sibTrans" cxnId="{19DE5505-063D-40F8-8E5B-12D0A3F2B585}">
      <dgm:prSet/>
      <dgm:spPr/>
      <dgm:t>
        <a:bodyPr/>
        <a:lstStyle/>
        <a:p>
          <a:endParaRPr lang="nb-NO"/>
        </a:p>
      </dgm:t>
    </dgm:pt>
    <dgm:pt modelId="{C8459B27-7D8D-4FED-8054-AC3524A03EDA}" type="asst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Programkontor</a:t>
          </a:r>
        </a:p>
      </dgm:t>
    </dgm:pt>
    <dgm:pt modelId="{4D6BA7DF-F4B1-42E0-B6D5-07D472CD29E3}" type="parTrans" cxnId="{9104EBE4-C5A3-4A94-BC3E-83224C1A7048}">
      <dgm:prSet/>
      <dgm:spPr/>
      <dgm:t>
        <a:bodyPr/>
        <a:lstStyle/>
        <a:p>
          <a:endParaRPr lang="nb-NO"/>
        </a:p>
      </dgm:t>
    </dgm:pt>
    <dgm:pt modelId="{8B9656E3-A486-4798-9CAA-A444B53E33BF}" type="sibTrans" cxnId="{9104EBE4-C5A3-4A94-BC3E-83224C1A7048}">
      <dgm:prSet/>
      <dgm:spPr/>
      <dgm:t>
        <a:bodyPr/>
        <a:lstStyle/>
        <a:p>
          <a:endParaRPr lang="nb-NO"/>
        </a:p>
      </dgm:t>
    </dgm:pt>
    <dgm:pt modelId="{5C102FC3-BD1A-4538-8894-AA07FA3D5420}" type="asst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cs typeface="Arial" panose="020B0604020202020204" pitchFamily="34" charset="0"/>
            </a:rPr>
            <a:t>Test &amp; </a:t>
          </a:r>
          <a:r>
            <a:rPr lang="nb-NO" sz="1400" b="1" dirty="0" err="1" smtClean="0">
              <a:latin typeface="+mn-lt"/>
              <a:cs typeface="Arial" panose="020B0604020202020204" pitchFamily="34" charset="0"/>
            </a:rPr>
            <a:t>release</a:t>
          </a:r>
          <a:r>
            <a:rPr lang="nb-NO" sz="1400" b="1" dirty="0" smtClean="0">
              <a:latin typeface="+mn-lt"/>
              <a:cs typeface="Arial" panose="020B0604020202020204" pitchFamily="34" charset="0"/>
            </a:rPr>
            <a:t> </a:t>
          </a:r>
        </a:p>
      </dgm:t>
    </dgm:pt>
    <dgm:pt modelId="{DE00B9B9-1553-4EFD-8A84-B05026BA746C}" type="parTrans" cxnId="{98D8AB25-CD27-49A0-A010-A590728F9166}">
      <dgm:prSet/>
      <dgm:spPr/>
      <dgm:t>
        <a:bodyPr/>
        <a:lstStyle/>
        <a:p>
          <a:endParaRPr lang="nb-NO"/>
        </a:p>
      </dgm:t>
    </dgm:pt>
    <dgm:pt modelId="{27B64BB4-15AF-4DB0-90B3-D39FCA3ED4FC}" type="sibTrans" cxnId="{98D8AB25-CD27-49A0-A010-A590728F9166}">
      <dgm:prSet/>
      <dgm:spPr/>
      <dgm:t>
        <a:bodyPr/>
        <a:lstStyle/>
        <a:p>
          <a:endParaRPr lang="nb-NO"/>
        </a:p>
      </dgm:t>
    </dgm:pt>
    <dgm:pt modelId="{C37368DF-165F-48A2-AB79-03EBCAD2FC5B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Regional EPJ Standardisering</a:t>
          </a:r>
        </a:p>
      </dgm:t>
    </dgm:pt>
    <dgm:pt modelId="{0C52320A-3B47-4D25-BDC9-D875C8F4612B}" type="parTrans" cxnId="{96B583E0-3CF3-4312-BFBF-D0828D5537E2}">
      <dgm:prSet/>
      <dgm:spPr/>
      <dgm:t>
        <a:bodyPr/>
        <a:lstStyle/>
        <a:p>
          <a:endParaRPr lang="nb-NO" sz="900">
            <a:latin typeface="+mn-lt"/>
          </a:endParaRPr>
        </a:p>
      </dgm:t>
    </dgm:pt>
    <dgm:pt modelId="{693CFB7A-A7B8-45DA-B202-F9E5F460527D}" type="sibTrans" cxnId="{96B583E0-3CF3-4312-BFBF-D0828D5537E2}">
      <dgm:prSet/>
      <dgm:spPr/>
      <dgm:t>
        <a:bodyPr/>
        <a:lstStyle/>
        <a:p>
          <a:endParaRPr lang="nb-NO"/>
        </a:p>
      </dgm:t>
    </dgm:pt>
    <dgm:pt modelId="{48EDB0E6-934E-4E2F-8960-ABBA8697F128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cs typeface="Arial" panose="020B0604020202020204" pitchFamily="34" charset="0"/>
            </a:rPr>
            <a:t>Regional radiologi </a:t>
          </a:r>
        </a:p>
      </dgm:t>
    </dgm:pt>
    <dgm:pt modelId="{D84DF43D-ED01-4C54-8592-AB53BEA649B8}" type="parTrans" cxnId="{B4682212-E123-402E-86E9-9F1FCD84B491}">
      <dgm:prSet/>
      <dgm:spPr/>
      <dgm:t>
        <a:bodyPr/>
        <a:lstStyle/>
        <a:p>
          <a:endParaRPr lang="nb-NO"/>
        </a:p>
      </dgm:t>
    </dgm:pt>
    <dgm:pt modelId="{A0C19C04-98C0-42BF-8E33-D5D1E38B1ED5}" type="sibTrans" cxnId="{B4682212-E123-402E-86E9-9F1FCD84B491}">
      <dgm:prSet/>
      <dgm:spPr/>
      <dgm:t>
        <a:bodyPr/>
        <a:lstStyle/>
        <a:p>
          <a:endParaRPr lang="nb-NO"/>
        </a:p>
      </dgm:t>
    </dgm:pt>
    <dgm:pt modelId="{62B17B10-3100-47D8-A4AA-B4B25E21D318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cs typeface="Arial" panose="020B0604020202020204" pitchFamily="34" charset="0"/>
            </a:rPr>
            <a:t>Regional Lab</a:t>
          </a:r>
        </a:p>
      </dgm:t>
    </dgm:pt>
    <dgm:pt modelId="{47D6ABA7-38CD-403E-B1FC-0FFD5B8C70B5}" type="parTrans" cxnId="{D9068E2B-F411-4CCE-9E3D-D046FF59E46E}">
      <dgm:prSet/>
      <dgm:spPr/>
      <dgm:t>
        <a:bodyPr/>
        <a:lstStyle/>
        <a:p>
          <a:endParaRPr lang="nb-NO"/>
        </a:p>
      </dgm:t>
    </dgm:pt>
    <dgm:pt modelId="{7535A075-3789-479F-A6B9-83A07121EAA7}" type="sibTrans" cxnId="{D9068E2B-F411-4CCE-9E3D-D046FF59E46E}">
      <dgm:prSet/>
      <dgm:spPr/>
      <dgm:t>
        <a:bodyPr/>
        <a:lstStyle/>
        <a:p>
          <a:endParaRPr lang="nb-NO"/>
        </a:p>
      </dgm:t>
    </dgm:pt>
    <dgm:pt modelId="{726F5070-22FB-40B0-81CB-1BBF736E5811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Interaktiv henvisning og rekvirering</a:t>
          </a:r>
        </a:p>
      </dgm:t>
    </dgm:pt>
    <dgm:pt modelId="{E6B4940F-98DD-468B-AE28-D081520F125E}" type="parTrans" cxnId="{D9399E93-5692-4ADD-B923-BC12DA11D0F5}">
      <dgm:prSet/>
      <dgm:spPr/>
      <dgm:t>
        <a:bodyPr/>
        <a:lstStyle/>
        <a:p>
          <a:endParaRPr lang="nb-NO"/>
        </a:p>
      </dgm:t>
    </dgm:pt>
    <dgm:pt modelId="{5CF04BBA-7A1A-4A64-B328-8944BA2DA0C6}" type="sibTrans" cxnId="{D9399E93-5692-4ADD-B923-BC12DA11D0F5}">
      <dgm:prSet/>
      <dgm:spPr/>
      <dgm:t>
        <a:bodyPr/>
        <a:lstStyle/>
        <a:p>
          <a:endParaRPr lang="nb-NO"/>
        </a:p>
      </dgm:t>
    </dgm:pt>
    <dgm:pt modelId="{B0BCCA9D-EE96-4973-8C31-AD72F1C2D85A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Regional kurve og medikasjon</a:t>
          </a:r>
          <a:endParaRPr lang="nb-NO" sz="1400" dirty="0" smtClean="0">
            <a:latin typeface="+mn-lt"/>
            <a:ea typeface="+mn-ea"/>
            <a:cs typeface="+mn-cs"/>
          </a:endParaRPr>
        </a:p>
      </dgm:t>
    </dgm:pt>
    <dgm:pt modelId="{488E8CBF-E027-4AD6-A3CD-3DB9DF8BF77F}" type="parTrans" cxnId="{8D9AFAAA-2A27-44C8-BB95-DDF54E09BC74}">
      <dgm:prSet/>
      <dgm:spPr/>
      <dgm:t>
        <a:bodyPr/>
        <a:lstStyle/>
        <a:p>
          <a:endParaRPr lang="nb-NO"/>
        </a:p>
      </dgm:t>
    </dgm:pt>
    <dgm:pt modelId="{28699BDF-981B-4C8E-A2EC-BC9F95F89138}" type="sibTrans" cxnId="{8D9AFAAA-2A27-44C8-BB95-DDF54E09BC74}">
      <dgm:prSet/>
      <dgm:spPr/>
      <dgm:t>
        <a:bodyPr/>
        <a:lstStyle/>
        <a:p>
          <a:endParaRPr lang="nb-NO"/>
        </a:p>
      </dgm:t>
    </dgm:pt>
    <dgm:pt modelId="{B383D046-B627-4104-8483-188279CC0AB0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Regional multimedia </a:t>
          </a:r>
        </a:p>
      </dgm:t>
    </dgm:pt>
    <dgm:pt modelId="{6E0A51BA-BA22-4E8E-9656-E79FE74ECDFF}" type="parTrans" cxnId="{B2356FC1-E7FB-4A2D-A5CA-3AAA7FEF3E3E}">
      <dgm:prSet/>
      <dgm:spPr/>
      <dgm:t>
        <a:bodyPr/>
        <a:lstStyle/>
        <a:p>
          <a:endParaRPr lang="nb-NO"/>
        </a:p>
      </dgm:t>
    </dgm:pt>
    <dgm:pt modelId="{E7204A28-7B34-4CA2-95F3-FC6FC5716117}" type="sibTrans" cxnId="{B2356FC1-E7FB-4A2D-A5CA-3AAA7FEF3E3E}">
      <dgm:prSet/>
      <dgm:spPr/>
      <dgm:t>
        <a:bodyPr/>
        <a:lstStyle/>
        <a:p>
          <a:endParaRPr lang="nb-NO"/>
        </a:p>
      </dgm:t>
    </dgm:pt>
    <dgm:pt modelId="{54D66A56-5F25-46FC-B6F3-A9847653E05A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Automatisk tildeling av fødselsnummer</a:t>
          </a:r>
          <a:endParaRPr lang="nb-NO" sz="1400" dirty="0">
            <a:latin typeface="+mn-lt"/>
          </a:endParaRPr>
        </a:p>
      </dgm:t>
    </dgm:pt>
    <dgm:pt modelId="{7751746B-69E9-40D9-879A-9CEBD7139696}" type="parTrans" cxnId="{AC3D3FD5-FC0C-45EF-AD7E-00C6C05D8721}">
      <dgm:prSet/>
      <dgm:spPr/>
      <dgm:t>
        <a:bodyPr/>
        <a:lstStyle/>
        <a:p>
          <a:endParaRPr lang="nb-NO"/>
        </a:p>
      </dgm:t>
    </dgm:pt>
    <dgm:pt modelId="{C2D3729F-59CA-4979-9E90-EF38B9D1323F}" type="sibTrans" cxnId="{AC3D3FD5-FC0C-45EF-AD7E-00C6C05D8721}">
      <dgm:prSet/>
      <dgm:spPr/>
      <dgm:t>
        <a:bodyPr/>
        <a:lstStyle/>
        <a:p>
          <a:endParaRPr lang="nb-NO"/>
        </a:p>
      </dgm:t>
    </dgm:pt>
    <dgm:pt modelId="{28BFA176-3399-4C33-BA9C-2D56657673BB}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Sykehuset Innlandet radiologi </a:t>
          </a:r>
        </a:p>
      </dgm:t>
    </dgm:pt>
    <dgm:pt modelId="{B6F1C9B0-9465-4774-8185-81BC2D843F12}" type="parTrans" cxnId="{2F1B5413-712F-42D1-B109-AA03276BEBA2}">
      <dgm:prSet/>
      <dgm:spPr/>
      <dgm:t>
        <a:bodyPr/>
        <a:lstStyle/>
        <a:p>
          <a:endParaRPr lang="nb-NO"/>
        </a:p>
      </dgm:t>
    </dgm:pt>
    <dgm:pt modelId="{F7DF7EDF-BA1B-4228-9265-5AAF749C83AE}" type="sibTrans" cxnId="{2F1B5413-712F-42D1-B109-AA03276BEBA2}">
      <dgm:prSet/>
      <dgm:spPr/>
      <dgm:t>
        <a:bodyPr/>
        <a:lstStyle/>
        <a:p>
          <a:endParaRPr lang="nb-NO"/>
        </a:p>
      </dgm:t>
    </dgm:pt>
    <dgm:pt modelId="{C5D773B5-E571-46EC-B1FD-6395875628AF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Digitale innbyggertjenester i Helse Sør-Øst </a:t>
          </a:r>
        </a:p>
      </dgm:t>
    </dgm:pt>
    <dgm:pt modelId="{CD05DBC4-10D4-462F-9D5B-009CBBCB70A6}" type="parTrans" cxnId="{ED8B2EA1-6C7F-448E-8BCF-981F411A7B45}">
      <dgm:prSet/>
      <dgm:spPr/>
      <dgm:t>
        <a:bodyPr/>
        <a:lstStyle/>
        <a:p>
          <a:endParaRPr lang="nb-NO"/>
        </a:p>
      </dgm:t>
    </dgm:pt>
    <dgm:pt modelId="{06AF46ED-7EB0-4D17-9690-B4BA79CD2195}" type="sibTrans" cxnId="{ED8B2EA1-6C7F-448E-8BCF-981F411A7B45}">
      <dgm:prSet/>
      <dgm:spPr/>
      <dgm:t>
        <a:bodyPr/>
        <a:lstStyle/>
        <a:p>
          <a:endParaRPr lang="nb-NO"/>
        </a:p>
      </dgm:t>
    </dgm:pt>
    <dgm:pt modelId="{A8261542-D018-4FB6-ABAA-2A5BC50BE4E9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Regional EPJ Konsolidering</a:t>
          </a:r>
        </a:p>
      </dgm:t>
    </dgm:pt>
    <dgm:pt modelId="{3DBF91F3-47DD-4E25-A566-C3E485767A35}" type="parTrans" cxnId="{1DF080CD-C331-47F7-AC22-3546BE417BD8}">
      <dgm:prSet/>
      <dgm:spPr/>
      <dgm:t>
        <a:bodyPr/>
        <a:lstStyle/>
        <a:p>
          <a:endParaRPr lang="nb-NO"/>
        </a:p>
      </dgm:t>
    </dgm:pt>
    <dgm:pt modelId="{64C79DAD-ED7D-46DF-BE3F-0D0B18602EC4}" type="sibTrans" cxnId="{1DF080CD-C331-47F7-AC22-3546BE417BD8}">
      <dgm:prSet/>
      <dgm:spPr/>
      <dgm:t>
        <a:bodyPr/>
        <a:lstStyle/>
        <a:p>
          <a:endParaRPr lang="nb-NO"/>
        </a:p>
      </dgm:t>
    </dgm:pt>
    <dgm:pt modelId="{95BEEA68-6E45-4257-AFA2-0F8BD1F6E999}">
      <dgm:prSet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HF-HF kommunikasjon</a:t>
          </a:r>
        </a:p>
      </dgm:t>
    </dgm:pt>
    <dgm:pt modelId="{78B225E8-100E-4266-860A-FF236F3FAFB9}" type="parTrans" cxnId="{CDFECB7E-0380-46FE-B8B9-1EB9CFC98440}">
      <dgm:prSet/>
      <dgm:spPr/>
      <dgm:t>
        <a:bodyPr/>
        <a:lstStyle/>
        <a:p>
          <a:endParaRPr lang="nb-NO"/>
        </a:p>
      </dgm:t>
    </dgm:pt>
    <dgm:pt modelId="{EA4F3F70-9510-4CEF-AD10-5B4F82AC3B35}" type="sibTrans" cxnId="{CDFECB7E-0380-46FE-B8B9-1EB9CFC98440}">
      <dgm:prSet/>
      <dgm:spPr/>
      <dgm:t>
        <a:bodyPr/>
        <a:lstStyle/>
        <a:p>
          <a:endParaRPr lang="nb-NO"/>
        </a:p>
      </dgm:t>
    </dgm:pt>
    <dgm:pt modelId="{84E866D2-67C2-4ECD-B67F-F9EEB5B8797D}" type="asst">
      <dgm:prSet phldrT="[Tekst]" custT="1"/>
      <dgm:spPr>
        <a:scene3d>
          <a:camera prst="orthographicFront"/>
          <a:lightRig rig="flat" dir="t"/>
        </a:scene3d>
      </dgm:spPr>
      <dgm:t>
        <a:bodyPr/>
        <a:lstStyle/>
        <a:p>
          <a:r>
            <a:rPr lang="nb-NO" sz="1400" b="1" dirty="0" smtClean="0">
              <a:latin typeface="+mn-lt"/>
              <a:ea typeface="+mn-ea"/>
              <a:cs typeface="+mn-cs"/>
            </a:rPr>
            <a:t>Kommunikasjon</a:t>
          </a:r>
          <a:endParaRPr lang="nb-NO" sz="1400" b="0" dirty="0" smtClean="0">
            <a:latin typeface="+mn-lt"/>
            <a:ea typeface="+mn-ea"/>
            <a:cs typeface="+mn-cs"/>
          </a:endParaRPr>
        </a:p>
      </dgm:t>
    </dgm:pt>
    <dgm:pt modelId="{C96E2CE8-2472-4E14-B1C4-ECBD9DE7BF80}" type="parTrans" cxnId="{4D0B19D4-C0CE-495A-AC53-4F3C3A6407D6}">
      <dgm:prSet/>
      <dgm:spPr/>
      <dgm:t>
        <a:bodyPr/>
        <a:lstStyle/>
        <a:p>
          <a:endParaRPr lang="nb-NO"/>
        </a:p>
      </dgm:t>
    </dgm:pt>
    <dgm:pt modelId="{5CDC7E3E-C48D-4CAA-A428-3BC575EC21A5}" type="sibTrans" cxnId="{4D0B19D4-C0CE-495A-AC53-4F3C3A6407D6}">
      <dgm:prSet/>
      <dgm:spPr/>
      <dgm:t>
        <a:bodyPr/>
        <a:lstStyle/>
        <a:p>
          <a:endParaRPr lang="nb-NO"/>
        </a:p>
      </dgm:t>
    </dgm:pt>
    <dgm:pt modelId="{051F1529-BBB4-48D0-B969-4ACDC019100D}">
      <dgm:prSet custT="1"/>
      <dgm:spPr/>
      <dgm:t>
        <a:bodyPr/>
        <a:lstStyle/>
        <a:p>
          <a:r>
            <a:rPr lang="nb-NO" sz="1400" b="1" dirty="0" smtClean="0"/>
            <a:t>Regional ambulansejournal</a:t>
          </a:r>
          <a:endParaRPr lang="nb-NO" sz="1400" b="1" dirty="0"/>
        </a:p>
      </dgm:t>
    </dgm:pt>
    <dgm:pt modelId="{9B29DBB5-58F4-4BF1-9FEA-BD1058B5DFAF}" type="parTrans" cxnId="{D50795ED-DC60-4838-B391-58C993398409}">
      <dgm:prSet/>
      <dgm:spPr/>
      <dgm:t>
        <a:bodyPr/>
        <a:lstStyle/>
        <a:p>
          <a:endParaRPr lang="nb-NO"/>
        </a:p>
      </dgm:t>
    </dgm:pt>
    <dgm:pt modelId="{BE56BEEC-D864-448D-9B20-65C2CDF87267}" type="sibTrans" cxnId="{D50795ED-DC60-4838-B391-58C993398409}">
      <dgm:prSet/>
      <dgm:spPr/>
      <dgm:t>
        <a:bodyPr/>
        <a:lstStyle/>
        <a:p>
          <a:endParaRPr lang="nb-NO"/>
        </a:p>
      </dgm:t>
    </dgm:pt>
    <dgm:pt modelId="{46635E91-ECE3-4AB2-9289-AEB0B3AAD5E4}">
      <dgm:prSet custT="1"/>
      <dgm:spPr/>
      <dgm:t>
        <a:bodyPr/>
        <a:lstStyle/>
        <a:p>
          <a:r>
            <a:rPr lang="nb-NO" sz="1400" b="1" dirty="0" smtClean="0"/>
            <a:t>Regional EPJ Modernisering (FRAM)</a:t>
          </a:r>
          <a:endParaRPr lang="nb-NO" sz="1400" b="1" dirty="0"/>
        </a:p>
      </dgm:t>
    </dgm:pt>
    <dgm:pt modelId="{95D20FE7-F6A1-4D08-8538-336D552B4B4A}" type="parTrans" cxnId="{73A28EA4-72FF-4DD7-9EBC-D77BC7DAB61B}">
      <dgm:prSet/>
      <dgm:spPr/>
      <dgm:t>
        <a:bodyPr/>
        <a:lstStyle/>
        <a:p>
          <a:endParaRPr lang="nb-NO"/>
        </a:p>
      </dgm:t>
    </dgm:pt>
    <dgm:pt modelId="{F1B161FF-CF38-42F0-BB66-F559EC69D2F2}" type="sibTrans" cxnId="{73A28EA4-72FF-4DD7-9EBC-D77BC7DAB61B}">
      <dgm:prSet/>
      <dgm:spPr/>
      <dgm:t>
        <a:bodyPr/>
        <a:lstStyle/>
        <a:p>
          <a:endParaRPr lang="nb-NO"/>
        </a:p>
      </dgm:t>
    </dgm:pt>
    <dgm:pt modelId="{4FC30BFF-6C87-46AB-99B8-3EFBC505D3EF}" type="pres">
      <dgm:prSet presAssocID="{951F0594-70CC-42B8-8996-305585872F5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nb-NO"/>
        </a:p>
      </dgm:t>
    </dgm:pt>
    <dgm:pt modelId="{977C9DED-CB9C-4D35-B264-7CA9A7F64E46}" type="pres">
      <dgm:prSet presAssocID="{31F85546-E8FD-485F-88AB-D61C7F386EB1}" presName="hierRoot1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239B4698-3B1B-40C8-8EDA-5172A15DCBC7}" type="pres">
      <dgm:prSet presAssocID="{31F85546-E8FD-485F-88AB-D61C7F386EB1}" presName="rootComposite1" presStyleCnt="0"/>
      <dgm:spPr/>
      <dgm:t>
        <a:bodyPr/>
        <a:lstStyle/>
        <a:p>
          <a:endParaRPr lang="nb-NO"/>
        </a:p>
      </dgm:t>
    </dgm:pt>
    <dgm:pt modelId="{B759C001-51A3-41E8-A27B-FDDDBAF3461B}" type="pres">
      <dgm:prSet presAssocID="{31F85546-E8FD-485F-88AB-D61C7F386EB1}" presName="rootText1" presStyleLbl="node0" presStyleIdx="0" presStyleCnt="1" custScaleX="223409" custScaleY="361639" custLinFactX="-100000" custLinFactNeighborX="-141210" custLinFactNeighborY="3958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CED82F2A-70BC-45F3-8BAC-F79690F7DE33}" type="pres">
      <dgm:prSet presAssocID="{31F85546-E8FD-485F-88AB-D61C7F386EB1}" presName="rootConnector1" presStyleLbl="node1" presStyleIdx="0" presStyleCnt="0"/>
      <dgm:spPr/>
      <dgm:t>
        <a:bodyPr/>
        <a:lstStyle/>
        <a:p>
          <a:endParaRPr lang="nb-NO"/>
        </a:p>
      </dgm:t>
    </dgm:pt>
    <dgm:pt modelId="{DEC9449B-C4A3-4BEF-97D8-5AC603A0854E}" type="pres">
      <dgm:prSet presAssocID="{31F85546-E8FD-485F-88AB-D61C7F386EB1}" presName="hierChild2" presStyleCnt="0"/>
      <dgm:spPr/>
      <dgm:t>
        <a:bodyPr/>
        <a:lstStyle/>
        <a:p>
          <a:endParaRPr lang="nb-NO"/>
        </a:p>
      </dgm:t>
    </dgm:pt>
    <dgm:pt modelId="{F2EB4B5B-A6BE-402B-BD64-D08400C7B531}" type="pres">
      <dgm:prSet presAssocID="{0C52320A-3B47-4D25-BDC9-D875C8F4612B}" presName="Name64" presStyleLbl="parChTrans1D2" presStyleIdx="0" presStyleCnt="18"/>
      <dgm:spPr/>
      <dgm:t>
        <a:bodyPr/>
        <a:lstStyle/>
        <a:p>
          <a:endParaRPr lang="nb-NO"/>
        </a:p>
      </dgm:t>
    </dgm:pt>
    <dgm:pt modelId="{3D6F666B-0B0A-414B-93AE-AF40B5EBCABB}" type="pres">
      <dgm:prSet presAssocID="{C37368DF-165F-48A2-AB79-03EBCAD2FC5B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CB824BDC-3173-42F2-BA41-ECA8269C967A}" type="pres">
      <dgm:prSet presAssocID="{C37368DF-165F-48A2-AB79-03EBCAD2FC5B}" presName="rootComposite" presStyleCnt="0"/>
      <dgm:spPr/>
      <dgm:t>
        <a:bodyPr/>
        <a:lstStyle/>
        <a:p>
          <a:endParaRPr lang="nb-NO"/>
        </a:p>
      </dgm:t>
    </dgm:pt>
    <dgm:pt modelId="{AE8940C8-DA71-4DBC-984A-5E196479C825}" type="pres">
      <dgm:prSet presAssocID="{C37368DF-165F-48A2-AB79-03EBCAD2FC5B}" presName="rootText" presStyleLbl="node2" presStyleIdx="0" presStyleCnt="14" custScaleX="609219" custScaleY="20885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80FF554D-DF93-4BEC-B785-C26A3656299B}" type="pres">
      <dgm:prSet presAssocID="{C37368DF-165F-48A2-AB79-03EBCAD2FC5B}" presName="rootConnector" presStyleLbl="node2" presStyleIdx="0" presStyleCnt="14"/>
      <dgm:spPr/>
      <dgm:t>
        <a:bodyPr/>
        <a:lstStyle/>
        <a:p>
          <a:endParaRPr lang="nb-NO"/>
        </a:p>
      </dgm:t>
    </dgm:pt>
    <dgm:pt modelId="{980DD65A-7028-4129-9B94-41EA8369A9E4}" type="pres">
      <dgm:prSet presAssocID="{C37368DF-165F-48A2-AB79-03EBCAD2FC5B}" presName="hierChild4" presStyleCnt="0"/>
      <dgm:spPr/>
      <dgm:t>
        <a:bodyPr/>
        <a:lstStyle/>
        <a:p>
          <a:endParaRPr lang="nb-NO"/>
        </a:p>
      </dgm:t>
    </dgm:pt>
    <dgm:pt modelId="{B981F681-15EB-4B23-8F93-BADBFE6F3068}" type="pres">
      <dgm:prSet presAssocID="{C37368DF-165F-48A2-AB79-03EBCAD2FC5B}" presName="hierChild5" presStyleCnt="0"/>
      <dgm:spPr/>
      <dgm:t>
        <a:bodyPr/>
        <a:lstStyle/>
        <a:p>
          <a:endParaRPr lang="nb-NO"/>
        </a:p>
      </dgm:t>
    </dgm:pt>
    <dgm:pt modelId="{3122E004-8525-48AF-B040-6E0A6126B9D6}" type="pres">
      <dgm:prSet presAssocID="{95D20FE7-F6A1-4D08-8538-336D552B4B4A}" presName="Name64" presStyleLbl="parChTrans1D2" presStyleIdx="1" presStyleCnt="18"/>
      <dgm:spPr/>
      <dgm:t>
        <a:bodyPr/>
        <a:lstStyle/>
        <a:p>
          <a:endParaRPr lang="nb-NO"/>
        </a:p>
      </dgm:t>
    </dgm:pt>
    <dgm:pt modelId="{D447CF28-C73F-49BD-B39E-04F9C15994FD}" type="pres">
      <dgm:prSet presAssocID="{46635E91-ECE3-4AB2-9289-AEB0B3AAD5E4}" presName="hierRoot2" presStyleCnt="0">
        <dgm:presLayoutVars>
          <dgm:hierBranch val="init"/>
        </dgm:presLayoutVars>
      </dgm:prSet>
      <dgm:spPr/>
    </dgm:pt>
    <dgm:pt modelId="{AACFB52A-1E21-4B19-91BD-A682195B4B22}" type="pres">
      <dgm:prSet presAssocID="{46635E91-ECE3-4AB2-9289-AEB0B3AAD5E4}" presName="rootComposite" presStyleCnt="0"/>
      <dgm:spPr/>
    </dgm:pt>
    <dgm:pt modelId="{B85C1E2B-9457-44E0-BCBE-5F56FCFF2E85}" type="pres">
      <dgm:prSet presAssocID="{46635E91-ECE3-4AB2-9289-AEB0B3AAD5E4}" presName="rootText" presStyleLbl="node2" presStyleIdx="1" presStyleCnt="14" custScaleX="609218" custScaleY="207857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FA7F5249-CEB6-44AB-AAD5-A08AA7E2DF7A}" type="pres">
      <dgm:prSet presAssocID="{46635E91-ECE3-4AB2-9289-AEB0B3AAD5E4}" presName="rootConnector" presStyleLbl="node2" presStyleIdx="1" presStyleCnt="14"/>
      <dgm:spPr/>
      <dgm:t>
        <a:bodyPr/>
        <a:lstStyle/>
        <a:p>
          <a:endParaRPr lang="nb-NO"/>
        </a:p>
      </dgm:t>
    </dgm:pt>
    <dgm:pt modelId="{77F9EC0D-265B-46F5-858F-2D516EBBCFC1}" type="pres">
      <dgm:prSet presAssocID="{46635E91-ECE3-4AB2-9289-AEB0B3AAD5E4}" presName="hierChild4" presStyleCnt="0"/>
      <dgm:spPr/>
    </dgm:pt>
    <dgm:pt modelId="{DA491B64-3B03-4137-A1F1-066167AAA68D}" type="pres">
      <dgm:prSet presAssocID="{46635E91-ECE3-4AB2-9289-AEB0B3AAD5E4}" presName="hierChild5" presStyleCnt="0"/>
      <dgm:spPr/>
    </dgm:pt>
    <dgm:pt modelId="{8362746C-3343-4E37-A733-0E93B668C6CE}" type="pres">
      <dgm:prSet presAssocID="{3DBF91F3-47DD-4E25-A566-C3E485767A35}" presName="Name64" presStyleLbl="parChTrans1D2" presStyleIdx="2" presStyleCnt="18"/>
      <dgm:spPr/>
      <dgm:t>
        <a:bodyPr/>
        <a:lstStyle/>
        <a:p>
          <a:endParaRPr lang="nb-NO"/>
        </a:p>
      </dgm:t>
    </dgm:pt>
    <dgm:pt modelId="{8ACD16C0-18A7-4C43-B8E3-2042FA9DB768}" type="pres">
      <dgm:prSet presAssocID="{A8261542-D018-4FB6-ABAA-2A5BC50BE4E9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E24763E1-B7B3-40E6-A4E1-365B9A5CCDA0}" type="pres">
      <dgm:prSet presAssocID="{A8261542-D018-4FB6-ABAA-2A5BC50BE4E9}" presName="rootComposite" presStyleCnt="0"/>
      <dgm:spPr/>
      <dgm:t>
        <a:bodyPr/>
        <a:lstStyle/>
        <a:p>
          <a:endParaRPr lang="nb-NO"/>
        </a:p>
      </dgm:t>
    </dgm:pt>
    <dgm:pt modelId="{CCC76F8E-5101-436B-B7A0-8C4418E94C0D}" type="pres">
      <dgm:prSet presAssocID="{A8261542-D018-4FB6-ABAA-2A5BC50BE4E9}" presName="rootText" presStyleLbl="node2" presStyleIdx="2" presStyleCnt="14" custScaleX="609219" custScaleY="20885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B23E2319-CB3C-46D5-8554-5D9C3F6CB4BB}" type="pres">
      <dgm:prSet presAssocID="{A8261542-D018-4FB6-ABAA-2A5BC50BE4E9}" presName="rootConnector" presStyleLbl="node2" presStyleIdx="2" presStyleCnt="14"/>
      <dgm:spPr/>
      <dgm:t>
        <a:bodyPr/>
        <a:lstStyle/>
        <a:p>
          <a:endParaRPr lang="nb-NO"/>
        </a:p>
      </dgm:t>
    </dgm:pt>
    <dgm:pt modelId="{F0191471-6654-4133-8F52-3742BDFC6B9F}" type="pres">
      <dgm:prSet presAssocID="{A8261542-D018-4FB6-ABAA-2A5BC50BE4E9}" presName="hierChild4" presStyleCnt="0"/>
      <dgm:spPr/>
      <dgm:t>
        <a:bodyPr/>
        <a:lstStyle/>
        <a:p>
          <a:endParaRPr lang="nb-NO"/>
        </a:p>
      </dgm:t>
    </dgm:pt>
    <dgm:pt modelId="{24A053B5-413D-4AC7-B075-C62C287C1614}" type="pres">
      <dgm:prSet presAssocID="{A8261542-D018-4FB6-ABAA-2A5BC50BE4E9}" presName="hierChild5" presStyleCnt="0"/>
      <dgm:spPr/>
      <dgm:t>
        <a:bodyPr/>
        <a:lstStyle/>
        <a:p>
          <a:endParaRPr lang="nb-NO"/>
        </a:p>
      </dgm:t>
    </dgm:pt>
    <dgm:pt modelId="{0D1F3F5C-5FFA-4085-8C0E-1A185C860D1D}" type="pres">
      <dgm:prSet presAssocID="{D84DF43D-ED01-4C54-8592-AB53BEA649B8}" presName="Name64" presStyleLbl="parChTrans1D2" presStyleIdx="3" presStyleCnt="18"/>
      <dgm:spPr/>
      <dgm:t>
        <a:bodyPr/>
        <a:lstStyle/>
        <a:p>
          <a:endParaRPr lang="nb-NO"/>
        </a:p>
      </dgm:t>
    </dgm:pt>
    <dgm:pt modelId="{6C97464A-58F3-40F1-9DA7-6905085D9980}" type="pres">
      <dgm:prSet presAssocID="{48EDB0E6-934E-4E2F-8960-ABBA8697F128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6E043C22-3BEF-45BC-A461-316575697827}" type="pres">
      <dgm:prSet presAssocID="{48EDB0E6-934E-4E2F-8960-ABBA8697F128}" presName="rootComposite" presStyleCnt="0"/>
      <dgm:spPr/>
      <dgm:t>
        <a:bodyPr/>
        <a:lstStyle/>
        <a:p>
          <a:endParaRPr lang="nb-NO"/>
        </a:p>
      </dgm:t>
    </dgm:pt>
    <dgm:pt modelId="{5AABC5E0-FA85-414D-85A8-C8617D736C45}" type="pres">
      <dgm:prSet presAssocID="{48EDB0E6-934E-4E2F-8960-ABBA8697F128}" presName="rootText" presStyleLbl="node2" presStyleIdx="3" presStyleCnt="14" custScaleX="609219" custScaleY="21011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B864BF7D-F2B9-4DEB-9570-33BBCDE25DD2}" type="pres">
      <dgm:prSet presAssocID="{48EDB0E6-934E-4E2F-8960-ABBA8697F128}" presName="rootConnector" presStyleLbl="node2" presStyleIdx="3" presStyleCnt="14"/>
      <dgm:spPr/>
      <dgm:t>
        <a:bodyPr/>
        <a:lstStyle/>
        <a:p>
          <a:endParaRPr lang="nb-NO"/>
        </a:p>
      </dgm:t>
    </dgm:pt>
    <dgm:pt modelId="{3C996883-B10A-4198-93B6-E25A13DAC098}" type="pres">
      <dgm:prSet presAssocID="{48EDB0E6-934E-4E2F-8960-ABBA8697F128}" presName="hierChild4" presStyleCnt="0"/>
      <dgm:spPr/>
      <dgm:t>
        <a:bodyPr/>
        <a:lstStyle/>
        <a:p>
          <a:endParaRPr lang="nb-NO"/>
        </a:p>
      </dgm:t>
    </dgm:pt>
    <dgm:pt modelId="{4E6627B6-4866-4488-92C6-1D06498AA6F2}" type="pres">
      <dgm:prSet presAssocID="{48EDB0E6-934E-4E2F-8960-ABBA8697F128}" presName="hierChild5" presStyleCnt="0"/>
      <dgm:spPr/>
      <dgm:t>
        <a:bodyPr/>
        <a:lstStyle/>
        <a:p>
          <a:endParaRPr lang="nb-NO"/>
        </a:p>
      </dgm:t>
    </dgm:pt>
    <dgm:pt modelId="{1DD86CF1-A6DE-4238-A9B6-43088B81BACB}" type="pres">
      <dgm:prSet presAssocID="{47D6ABA7-38CD-403E-B1FC-0FFD5B8C70B5}" presName="Name64" presStyleLbl="parChTrans1D2" presStyleIdx="4" presStyleCnt="18"/>
      <dgm:spPr/>
      <dgm:t>
        <a:bodyPr/>
        <a:lstStyle/>
        <a:p>
          <a:endParaRPr lang="nb-NO"/>
        </a:p>
      </dgm:t>
    </dgm:pt>
    <dgm:pt modelId="{0D059B89-E33F-445C-AD06-065DADA32A3D}" type="pres">
      <dgm:prSet presAssocID="{62B17B10-3100-47D8-A4AA-B4B25E21D318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8109AB4E-7BAE-4ADE-BBC5-D002D705F6D1}" type="pres">
      <dgm:prSet presAssocID="{62B17B10-3100-47D8-A4AA-B4B25E21D318}" presName="rootComposite" presStyleCnt="0"/>
      <dgm:spPr/>
      <dgm:t>
        <a:bodyPr/>
        <a:lstStyle/>
        <a:p>
          <a:endParaRPr lang="nb-NO"/>
        </a:p>
      </dgm:t>
    </dgm:pt>
    <dgm:pt modelId="{7856D2BE-4302-4777-8933-ADA16FD9CCFB}" type="pres">
      <dgm:prSet presAssocID="{62B17B10-3100-47D8-A4AA-B4B25E21D318}" presName="rootText" presStyleLbl="node2" presStyleIdx="4" presStyleCnt="14" custAng="10800000" custFlipVert="1" custScaleX="609219" custScaleY="20910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B6A75326-ABB6-4422-BAE8-7360F3162AE5}" type="pres">
      <dgm:prSet presAssocID="{62B17B10-3100-47D8-A4AA-B4B25E21D318}" presName="rootConnector" presStyleLbl="node2" presStyleIdx="4" presStyleCnt="14"/>
      <dgm:spPr/>
      <dgm:t>
        <a:bodyPr/>
        <a:lstStyle/>
        <a:p>
          <a:endParaRPr lang="nb-NO"/>
        </a:p>
      </dgm:t>
    </dgm:pt>
    <dgm:pt modelId="{139999D9-CC52-4451-94CD-57F23E6794F1}" type="pres">
      <dgm:prSet presAssocID="{62B17B10-3100-47D8-A4AA-B4B25E21D318}" presName="hierChild4" presStyleCnt="0"/>
      <dgm:spPr/>
      <dgm:t>
        <a:bodyPr/>
        <a:lstStyle/>
        <a:p>
          <a:endParaRPr lang="nb-NO"/>
        </a:p>
      </dgm:t>
    </dgm:pt>
    <dgm:pt modelId="{F640D225-3BD1-44CC-B72B-F8D161784937}" type="pres">
      <dgm:prSet presAssocID="{62B17B10-3100-47D8-A4AA-B4B25E21D318}" presName="hierChild5" presStyleCnt="0"/>
      <dgm:spPr/>
      <dgm:t>
        <a:bodyPr/>
        <a:lstStyle/>
        <a:p>
          <a:endParaRPr lang="nb-NO"/>
        </a:p>
      </dgm:t>
    </dgm:pt>
    <dgm:pt modelId="{F0023B9A-7DB6-4370-80FA-E1E7F8E0245E}" type="pres">
      <dgm:prSet presAssocID="{E6B4940F-98DD-468B-AE28-D081520F125E}" presName="Name64" presStyleLbl="parChTrans1D2" presStyleIdx="5" presStyleCnt="18"/>
      <dgm:spPr/>
      <dgm:t>
        <a:bodyPr/>
        <a:lstStyle/>
        <a:p>
          <a:endParaRPr lang="nb-NO"/>
        </a:p>
      </dgm:t>
    </dgm:pt>
    <dgm:pt modelId="{6EA40035-BF86-4F7D-996C-9902D319F6A5}" type="pres">
      <dgm:prSet presAssocID="{726F5070-22FB-40B0-81CB-1BBF736E5811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150AABCF-2020-4590-85B7-1570DB448657}" type="pres">
      <dgm:prSet presAssocID="{726F5070-22FB-40B0-81CB-1BBF736E5811}" presName="rootComposite" presStyleCnt="0"/>
      <dgm:spPr/>
      <dgm:t>
        <a:bodyPr/>
        <a:lstStyle/>
        <a:p>
          <a:endParaRPr lang="nb-NO"/>
        </a:p>
      </dgm:t>
    </dgm:pt>
    <dgm:pt modelId="{8E79C9CD-C52D-47BE-B1B4-960A9C5C6949}" type="pres">
      <dgm:prSet presAssocID="{726F5070-22FB-40B0-81CB-1BBF736E5811}" presName="rootText" presStyleLbl="node2" presStyleIdx="5" presStyleCnt="14" custScaleX="609219" custScaleY="20810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7FDED651-0AE5-45E6-8293-25DF9F654610}" type="pres">
      <dgm:prSet presAssocID="{726F5070-22FB-40B0-81CB-1BBF736E5811}" presName="rootConnector" presStyleLbl="node2" presStyleIdx="5" presStyleCnt="14"/>
      <dgm:spPr/>
      <dgm:t>
        <a:bodyPr/>
        <a:lstStyle/>
        <a:p>
          <a:endParaRPr lang="nb-NO"/>
        </a:p>
      </dgm:t>
    </dgm:pt>
    <dgm:pt modelId="{27504129-7FAE-4AB0-AA31-0472F4783AB6}" type="pres">
      <dgm:prSet presAssocID="{726F5070-22FB-40B0-81CB-1BBF736E5811}" presName="hierChild4" presStyleCnt="0"/>
      <dgm:spPr/>
      <dgm:t>
        <a:bodyPr/>
        <a:lstStyle/>
        <a:p>
          <a:endParaRPr lang="nb-NO"/>
        </a:p>
      </dgm:t>
    </dgm:pt>
    <dgm:pt modelId="{ADA6FFD2-DB02-4365-BCED-8FFADAADC7B2}" type="pres">
      <dgm:prSet presAssocID="{726F5070-22FB-40B0-81CB-1BBF736E5811}" presName="hierChild5" presStyleCnt="0"/>
      <dgm:spPr/>
      <dgm:t>
        <a:bodyPr/>
        <a:lstStyle/>
        <a:p>
          <a:endParaRPr lang="nb-NO"/>
        </a:p>
      </dgm:t>
    </dgm:pt>
    <dgm:pt modelId="{8081614C-E4E6-469E-BEE1-6E73C2859E85}" type="pres">
      <dgm:prSet presAssocID="{488E8CBF-E027-4AD6-A3CD-3DB9DF8BF77F}" presName="Name64" presStyleLbl="parChTrans1D2" presStyleIdx="6" presStyleCnt="18"/>
      <dgm:spPr/>
      <dgm:t>
        <a:bodyPr/>
        <a:lstStyle/>
        <a:p>
          <a:endParaRPr lang="nb-NO"/>
        </a:p>
      </dgm:t>
    </dgm:pt>
    <dgm:pt modelId="{3D113A7D-BCB8-4119-B188-9845D50CFF7C}" type="pres">
      <dgm:prSet presAssocID="{B0BCCA9D-EE96-4973-8C31-AD72F1C2D85A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66EF689C-5B78-4166-BEE5-00D1D631E3C2}" type="pres">
      <dgm:prSet presAssocID="{B0BCCA9D-EE96-4973-8C31-AD72F1C2D85A}" presName="rootComposite" presStyleCnt="0"/>
      <dgm:spPr/>
      <dgm:t>
        <a:bodyPr/>
        <a:lstStyle/>
        <a:p>
          <a:endParaRPr lang="nb-NO"/>
        </a:p>
      </dgm:t>
    </dgm:pt>
    <dgm:pt modelId="{187EA4FF-6648-4C55-943D-60C92E175A3D}" type="pres">
      <dgm:prSet presAssocID="{B0BCCA9D-EE96-4973-8C31-AD72F1C2D85A}" presName="rootText" presStyleLbl="node2" presStyleIdx="6" presStyleCnt="14" custScaleX="609219" custScaleY="207114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9567A8DC-4722-4D6A-8247-D4750A8ED9D6}" type="pres">
      <dgm:prSet presAssocID="{B0BCCA9D-EE96-4973-8C31-AD72F1C2D85A}" presName="rootConnector" presStyleLbl="node2" presStyleIdx="6" presStyleCnt="14"/>
      <dgm:spPr/>
      <dgm:t>
        <a:bodyPr/>
        <a:lstStyle/>
        <a:p>
          <a:endParaRPr lang="nb-NO"/>
        </a:p>
      </dgm:t>
    </dgm:pt>
    <dgm:pt modelId="{EDD64F26-8BE1-4A2A-9DF2-846D8FA2A26E}" type="pres">
      <dgm:prSet presAssocID="{B0BCCA9D-EE96-4973-8C31-AD72F1C2D85A}" presName="hierChild4" presStyleCnt="0"/>
      <dgm:spPr/>
      <dgm:t>
        <a:bodyPr/>
        <a:lstStyle/>
        <a:p>
          <a:endParaRPr lang="nb-NO"/>
        </a:p>
      </dgm:t>
    </dgm:pt>
    <dgm:pt modelId="{5108D65B-3799-49F9-9DD7-392362286308}" type="pres">
      <dgm:prSet presAssocID="{B0BCCA9D-EE96-4973-8C31-AD72F1C2D85A}" presName="hierChild5" presStyleCnt="0"/>
      <dgm:spPr/>
      <dgm:t>
        <a:bodyPr/>
        <a:lstStyle/>
        <a:p>
          <a:endParaRPr lang="nb-NO"/>
        </a:p>
      </dgm:t>
    </dgm:pt>
    <dgm:pt modelId="{58E905FB-7F11-42F0-91CB-A749E950D59F}" type="pres">
      <dgm:prSet presAssocID="{6516D2E0-1D83-40C2-B0FB-57BF507D6A51}" presName="Name64" presStyleLbl="parChTrans1D2" presStyleIdx="7" presStyleCnt="18"/>
      <dgm:spPr/>
      <dgm:t>
        <a:bodyPr/>
        <a:lstStyle/>
        <a:p>
          <a:endParaRPr lang="nb-NO"/>
        </a:p>
      </dgm:t>
    </dgm:pt>
    <dgm:pt modelId="{3B84C60E-A2AF-4862-9184-85CEDF5371DD}" type="pres">
      <dgm:prSet presAssocID="{711044E5-7A0D-4E1C-BA06-7195565F6C19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93F0D85D-B595-4CE9-A9A1-4FFBE2B5E8BC}" type="pres">
      <dgm:prSet presAssocID="{711044E5-7A0D-4E1C-BA06-7195565F6C19}" presName="rootComposite" presStyleCnt="0"/>
      <dgm:spPr/>
      <dgm:t>
        <a:bodyPr/>
        <a:lstStyle/>
        <a:p>
          <a:endParaRPr lang="nb-NO"/>
        </a:p>
      </dgm:t>
    </dgm:pt>
    <dgm:pt modelId="{3CC29F65-241D-426D-84B0-B14029A8CEED}" type="pres">
      <dgm:prSet presAssocID="{711044E5-7A0D-4E1C-BA06-7195565F6C19}" presName="rootText" presStyleLbl="node2" presStyleIdx="7" presStyleCnt="14" custScaleX="609219" custScaleY="205889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45660F9B-46D0-466C-A126-CB927C27AFCD}" type="pres">
      <dgm:prSet presAssocID="{711044E5-7A0D-4E1C-BA06-7195565F6C19}" presName="rootConnector" presStyleLbl="node2" presStyleIdx="7" presStyleCnt="14"/>
      <dgm:spPr/>
      <dgm:t>
        <a:bodyPr/>
        <a:lstStyle/>
        <a:p>
          <a:endParaRPr lang="nb-NO"/>
        </a:p>
      </dgm:t>
    </dgm:pt>
    <dgm:pt modelId="{229BDE68-6130-429A-9572-6FADCD73F524}" type="pres">
      <dgm:prSet presAssocID="{711044E5-7A0D-4E1C-BA06-7195565F6C19}" presName="hierChild4" presStyleCnt="0"/>
      <dgm:spPr/>
      <dgm:t>
        <a:bodyPr/>
        <a:lstStyle/>
        <a:p>
          <a:endParaRPr lang="nb-NO"/>
        </a:p>
      </dgm:t>
    </dgm:pt>
    <dgm:pt modelId="{10FEFDAC-E081-4892-8951-6A57B45CDC74}" type="pres">
      <dgm:prSet presAssocID="{711044E5-7A0D-4E1C-BA06-7195565F6C19}" presName="hierChild5" presStyleCnt="0"/>
      <dgm:spPr/>
      <dgm:t>
        <a:bodyPr/>
        <a:lstStyle/>
        <a:p>
          <a:endParaRPr lang="nb-NO"/>
        </a:p>
      </dgm:t>
    </dgm:pt>
    <dgm:pt modelId="{83B595A7-4E27-46A5-86B2-4AD47E61F026}" type="pres">
      <dgm:prSet presAssocID="{6E0A51BA-BA22-4E8E-9656-E79FE74ECDFF}" presName="Name64" presStyleLbl="parChTrans1D2" presStyleIdx="8" presStyleCnt="18"/>
      <dgm:spPr/>
      <dgm:t>
        <a:bodyPr/>
        <a:lstStyle/>
        <a:p>
          <a:endParaRPr lang="nb-NO"/>
        </a:p>
      </dgm:t>
    </dgm:pt>
    <dgm:pt modelId="{77FE339A-15EA-4017-88E9-12EA06FB9BDB}" type="pres">
      <dgm:prSet presAssocID="{B383D046-B627-4104-8483-188279CC0AB0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FF512AAE-36F9-4C53-8C8E-7E45251A138B}" type="pres">
      <dgm:prSet presAssocID="{B383D046-B627-4104-8483-188279CC0AB0}" presName="rootComposite" presStyleCnt="0"/>
      <dgm:spPr/>
      <dgm:t>
        <a:bodyPr/>
        <a:lstStyle/>
        <a:p>
          <a:endParaRPr lang="nb-NO"/>
        </a:p>
      </dgm:t>
    </dgm:pt>
    <dgm:pt modelId="{1953BCFA-210D-4A09-A920-829595D1D5C7}" type="pres">
      <dgm:prSet presAssocID="{B383D046-B627-4104-8483-188279CC0AB0}" presName="rootText" presStyleLbl="node2" presStyleIdx="8" presStyleCnt="14" custScaleX="609219" custScaleY="204919" custLinFactNeighborX="-816" custLinFactNeighborY="12342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0CABA240-2502-47E5-8CC0-82B6B75EE85E}" type="pres">
      <dgm:prSet presAssocID="{B383D046-B627-4104-8483-188279CC0AB0}" presName="rootConnector" presStyleLbl="node2" presStyleIdx="8" presStyleCnt="14"/>
      <dgm:spPr/>
      <dgm:t>
        <a:bodyPr/>
        <a:lstStyle/>
        <a:p>
          <a:endParaRPr lang="nb-NO"/>
        </a:p>
      </dgm:t>
    </dgm:pt>
    <dgm:pt modelId="{8A775A0E-3AD9-4385-83A4-4F00A3D7450E}" type="pres">
      <dgm:prSet presAssocID="{B383D046-B627-4104-8483-188279CC0AB0}" presName="hierChild4" presStyleCnt="0"/>
      <dgm:spPr/>
      <dgm:t>
        <a:bodyPr/>
        <a:lstStyle/>
        <a:p>
          <a:endParaRPr lang="nb-NO"/>
        </a:p>
      </dgm:t>
    </dgm:pt>
    <dgm:pt modelId="{BE03A243-798F-4355-A534-250220B7726C}" type="pres">
      <dgm:prSet presAssocID="{B383D046-B627-4104-8483-188279CC0AB0}" presName="hierChild5" presStyleCnt="0"/>
      <dgm:spPr/>
      <dgm:t>
        <a:bodyPr/>
        <a:lstStyle/>
        <a:p>
          <a:endParaRPr lang="nb-NO"/>
        </a:p>
      </dgm:t>
    </dgm:pt>
    <dgm:pt modelId="{17BFDBD1-59DD-4CFE-9ED8-A5130D3B625A}" type="pres">
      <dgm:prSet presAssocID="{78B225E8-100E-4266-860A-FF236F3FAFB9}" presName="Name64" presStyleLbl="parChTrans1D2" presStyleIdx="9" presStyleCnt="18"/>
      <dgm:spPr/>
      <dgm:t>
        <a:bodyPr/>
        <a:lstStyle/>
        <a:p>
          <a:endParaRPr lang="nb-NO"/>
        </a:p>
      </dgm:t>
    </dgm:pt>
    <dgm:pt modelId="{1302203D-0376-4701-BC24-F9BB544AFF2D}" type="pres">
      <dgm:prSet presAssocID="{95BEEA68-6E45-4257-AFA2-0F8BD1F6E999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236CC6F5-6354-4844-9DFA-500733EE4D39}" type="pres">
      <dgm:prSet presAssocID="{95BEEA68-6E45-4257-AFA2-0F8BD1F6E999}" presName="rootComposite" presStyleCnt="0"/>
      <dgm:spPr/>
      <dgm:t>
        <a:bodyPr/>
        <a:lstStyle/>
        <a:p>
          <a:endParaRPr lang="nb-NO"/>
        </a:p>
      </dgm:t>
    </dgm:pt>
    <dgm:pt modelId="{BE4C5272-4FD5-4415-8AF3-5B76B57CC5FB}" type="pres">
      <dgm:prSet presAssocID="{95BEEA68-6E45-4257-AFA2-0F8BD1F6E999}" presName="rootText" presStyleLbl="node2" presStyleIdx="9" presStyleCnt="14" custScaleX="609219" custScaleY="20348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B084AD07-FEDF-4935-A255-29B194FD84AF}" type="pres">
      <dgm:prSet presAssocID="{95BEEA68-6E45-4257-AFA2-0F8BD1F6E999}" presName="rootConnector" presStyleLbl="node2" presStyleIdx="9" presStyleCnt="14"/>
      <dgm:spPr/>
      <dgm:t>
        <a:bodyPr/>
        <a:lstStyle/>
        <a:p>
          <a:endParaRPr lang="nb-NO"/>
        </a:p>
      </dgm:t>
    </dgm:pt>
    <dgm:pt modelId="{9686EFB3-65D0-4949-9E3A-D3E74B5AFCE4}" type="pres">
      <dgm:prSet presAssocID="{95BEEA68-6E45-4257-AFA2-0F8BD1F6E999}" presName="hierChild4" presStyleCnt="0"/>
      <dgm:spPr/>
      <dgm:t>
        <a:bodyPr/>
        <a:lstStyle/>
        <a:p>
          <a:endParaRPr lang="nb-NO"/>
        </a:p>
      </dgm:t>
    </dgm:pt>
    <dgm:pt modelId="{7A0B507F-DF79-46F1-BF69-6A26E0747145}" type="pres">
      <dgm:prSet presAssocID="{95BEEA68-6E45-4257-AFA2-0F8BD1F6E999}" presName="hierChild5" presStyleCnt="0"/>
      <dgm:spPr/>
      <dgm:t>
        <a:bodyPr/>
        <a:lstStyle/>
        <a:p>
          <a:endParaRPr lang="nb-NO"/>
        </a:p>
      </dgm:t>
    </dgm:pt>
    <dgm:pt modelId="{5AF52518-A89A-4D33-B838-0B40FCD2BF10}" type="pres">
      <dgm:prSet presAssocID="{7751746B-69E9-40D9-879A-9CEBD7139696}" presName="Name64" presStyleLbl="parChTrans1D2" presStyleIdx="10" presStyleCnt="18"/>
      <dgm:spPr/>
      <dgm:t>
        <a:bodyPr/>
        <a:lstStyle/>
        <a:p>
          <a:endParaRPr lang="nb-NO"/>
        </a:p>
      </dgm:t>
    </dgm:pt>
    <dgm:pt modelId="{3784DC92-2132-47EA-90B7-8E6B49F85C65}" type="pres">
      <dgm:prSet presAssocID="{54D66A56-5F25-46FC-B6F3-A9847653E05A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6A9CEE41-4658-4561-B0E6-E9D8C410A6A1}" type="pres">
      <dgm:prSet presAssocID="{54D66A56-5F25-46FC-B6F3-A9847653E05A}" presName="rootComposite" presStyleCnt="0"/>
      <dgm:spPr/>
      <dgm:t>
        <a:bodyPr/>
        <a:lstStyle/>
        <a:p>
          <a:endParaRPr lang="nb-NO"/>
        </a:p>
      </dgm:t>
    </dgm:pt>
    <dgm:pt modelId="{3114991B-420A-4785-ABBD-5CB33B81BE4F}" type="pres">
      <dgm:prSet presAssocID="{54D66A56-5F25-46FC-B6F3-A9847653E05A}" presName="rootText" presStyleLbl="node2" presStyleIdx="10" presStyleCnt="14" custScaleX="609219" custScaleY="202298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C4AD7437-B7EE-40C2-8B4C-F7E4B1B62ACF}" type="pres">
      <dgm:prSet presAssocID="{54D66A56-5F25-46FC-B6F3-A9847653E05A}" presName="rootConnector" presStyleLbl="node2" presStyleIdx="10" presStyleCnt="14"/>
      <dgm:spPr/>
      <dgm:t>
        <a:bodyPr/>
        <a:lstStyle/>
        <a:p>
          <a:endParaRPr lang="nb-NO"/>
        </a:p>
      </dgm:t>
    </dgm:pt>
    <dgm:pt modelId="{2F8E4DEE-FD4C-433D-95EC-0163BC4F172F}" type="pres">
      <dgm:prSet presAssocID="{54D66A56-5F25-46FC-B6F3-A9847653E05A}" presName="hierChild4" presStyleCnt="0"/>
      <dgm:spPr/>
      <dgm:t>
        <a:bodyPr/>
        <a:lstStyle/>
        <a:p>
          <a:endParaRPr lang="nb-NO"/>
        </a:p>
      </dgm:t>
    </dgm:pt>
    <dgm:pt modelId="{8D5DC91E-EB51-418D-9B03-25459B7C68D4}" type="pres">
      <dgm:prSet presAssocID="{54D66A56-5F25-46FC-B6F3-A9847653E05A}" presName="hierChild5" presStyleCnt="0"/>
      <dgm:spPr/>
      <dgm:t>
        <a:bodyPr/>
        <a:lstStyle/>
        <a:p>
          <a:endParaRPr lang="nb-NO"/>
        </a:p>
      </dgm:t>
    </dgm:pt>
    <dgm:pt modelId="{7DB3587D-2324-4B4F-8F45-30C207A56B6E}" type="pres">
      <dgm:prSet presAssocID="{B6F1C9B0-9465-4774-8185-81BC2D843F12}" presName="Name64" presStyleLbl="parChTrans1D2" presStyleIdx="11" presStyleCnt="18"/>
      <dgm:spPr/>
      <dgm:t>
        <a:bodyPr/>
        <a:lstStyle/>
        <a:p>
          <a:endParaRPr lang="nb-NO"/>
        </a:p>
      </dgm:t>
    </dgm:pt>
    <dgm:pt modelId="{AD40B51C-94F6-4AB6-B329-BFE623BC4667}" type="pres">
      <dgm:prSet presAssocID="{28BFA176-3399-4C33-BA9C-2D56657673BB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1BDA1CA0-CCBF-4626-9659-857147F9FAC3}" type="pres">
      <dgm:prSet presAssocID="{28BFA176-3399-4C33-BA9C-2D56657673BB}" presName="rootComposite" presStyleCnt="0"/>
      <dgm:spPr/>
      <dgm:t>
        <a:bodyPr/>
        <a:lstStyle/>
        <a:p>
          <a:endParaRPr lang="nb-NO"/>
        </a:p>
      </dgm:t>
    </dgm:pt>
    <dgm:pt modelId="{0019AB8E-A64E-437D-9890-6BB53A5FB33A}" type="pres">
      <dgm:prSet presAssocID="{28BFA176-3399-4C33-BA9C-2D56657673BB}" presName="rootText" presStyleLbl="node2" presStyleIdx="11" presStyleCnt="14" custScaleX="609219" custScaleY="200896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CDAACB11-7785-4295-9592-648921381E77}" type="pres">
      <dgm:prSet presAssocID="{28BFA176-3399-4C33-BA9C-2D56657673BB}" presName="rootConnector" presStyleLbl="node2" presStyleIdx="11" presStyleCnt="14"/>
      <dgm:spPr/>
      <dgm:t>
        <a:bodyPr/>
        <a:lstStyle/>
        <a:p>
          <a:endParaRPr lang="nb-NO"/>
        </a:p>
      </dgm:t>
    </dgm:pt>
    <dgm:pt modelId="{02A36FF3-C3D7-4EB5-96E6-B3CC1B49A82E}" type="pres">
      <dgm:prSet presAssocID="{28BFA176-3399-4C33-BA9C-2D56657673BB}" presName="hierChild4" presStyleCnt="0"/>
      <dgm:spPr/>
      <dgm:t>
        <a:bodyPr/>
        <a:lstStyle/>
        <a:p>
          <a:endParaRPr lang="nb-NO"/>
        </a:p>
      </dgm:t>
    </dgm:pt>
    <dgm:pt modelId="{8C6BBCC7-368D-44FA-ABBF-9131BDB7D676}" type="pres">
      <dgm:prSet presAssocID="{28BFA176-3399-4C33-BA9C-2D56657673BB}" presName="hierChild5" presStyleCnt="0"/>
      <dgm:spPr/>
      <dgm:t>
        <a:bodyPr/>
        <a:lstStyle/>
        <a:p>
          <a:endParaRPr lang="nb-NO"/>
        </a:p>
      </dgm:t>
    </dgm:pt>
    <dgm:pt modelId="{C888EC8E-1A8E-4121-87DF-A500F6B0501C}" type="pres">
      <dgm:prSet presAssocID="{9B29DBB5-58F4-4BF1-9FEA-BD1058B5DFAF}" presName="Name64" presStyleLbl="parChTrans1D2" presStyleIdx="12" presStyleCnt="18"/>
      <dgm:spPr/>
      <dgm:t>
        <a:bodyPr/>
        <a:lstStyle/>
        <a:p>
          <a:endParaRPr lang="nb-NO"/>
        </a:p>
      </dgm:t>
    </dgm:pt>
    <dgm:pt modelId="{BE2CA069-97DD-4F9A-9088-EAD5573387DB}" type="pres">
      <dgm:prSet presAssocID="{051F1529-BBB4-48D0-B969-4ACDC019100D}" presName="hierRoot2" presStyleCnt="0">
        <dgm:presLayoutVars>
          <dgm:hierBranch val="init"/>
        </dgm:presLayoutVars>
      </dgm:prSet>
      <dgm:spPr/>
    </dgm:pt>
    <dgm:pt modelId="{C8C2032A-C845-453A-B6DA-E7E729B08896}" type="pres">
      <dgm:prSet presAssocID="{051F1529-BBB4-48D0-B969-4ACDC019100D}" presName="rootComposite" presStyleCnt="0"/>
      <dgm:spPr/>
    </dgm:pt>
    <dgm:pt modelId="{F73CC906-0845-48C8-8B8F-090E96A60656}" type="pres">
      <dgm:prSet presAssocID="{051F1529-BBB4-48D0-B969-4ACDC019100D}" presName="rootText" presStyleLbl="node2" presStyleIdx="12" presStyleCnt="14" custScaleX="609218" custScaleY="199285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1850725D-AEE5-4906-AA1E-69F5BC1C42B6}" type="pres">
      <dgm:prSet presAssocID="{051F1529-BBB4-48D0-B969-4ACDC019100D}" presName="rootConnector" presStyleLbl="node2" presStyleIdx="12" presStyleCnt="14"/>
      <dgm:spPr/>
      <dgm:t>
        <a:bodyPr/>
        <a:lstStyle/>
        <a:p>
          <a:endParaRPr lang="nb-NO"/>
        </a:p>
      </dgm:t>
    </dgm:pt>
    <dgm:pt modelId="{0BD502FC-EB94-40C7-A579-38AA70647A98}" type="pres">
      <dgm:prSet presAssocID="{051F1529-BBB4-48D0-B969-4ACDC019100D}" presName="hierChild4" presStyleCnt="0"/>
      <dgm:spPr/>
    </dgm:pt>
    <dgm:pt modelId="{1A0D029B-A6C5-4C3F-9A6B-5AAE28536994}" type="pres">
      <dgm:prSet presAssocID="{051F1529-BBB4-48D0-B969-4ACDC019100D}" presName="hierChild5" presStyleCnt="0"/>
      <dgm:spPr/>
    </dgm:pt>
    <dgm:pt modelId="{9DE43C64-8C64-4179-8465-566FF3C71759}" type="pres">
      <dgm:prSet presAssocID="{CD05DBC4-10D4-462F-9D5B-009CBBCB70A6}" presName="Name64" presStyleLbl="parChTrans1D2" presStyleIdx="13" presStyleCnt="18"/>
      <dgm:spPr/>
      <dgm:t>
        <a:bodyPr/>
        <a:lstStyle/>
        <a:p>
          <a:endParaRPr lang="nb-NO"/>
        </a:p>
      </dgm:t>
    </dgm:pt>
    <dgm:pt modelId="{66C92A10-1584-4B6B-A271-C64E3A06DE1F}" type="pres">
      <dgm:prSet presAssocID="{C5D773B5-E571-46EC-B1FD-6395875628AF}" presName="hierRoot2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BA75D9A8-276F-4EA2-B1C8-A8EBE3DAABE8}" type="pres">
      <dgm:prSet presAssocID="{C5D773B5-E571-46EC-B1FD-6395875628AF}" presName="rootComposite" presStyleCnt="0"/>
      <dgm:spPr/>
      <dgm:t>
        <a:bodyPr/>
        <a:lstStyle/>
        <a:p>
          <a:endParaRPr lang="nb-NO"/>
        </a:p>
      </dgm:t>
    </dgm:pt>
    <dgm:pt modelId="{596E066C-032D-4E00-9FE9-2B75249D0D86}" type="pres">
      <dgm:prSet presAssocID="{C5D773B5-E571-46EC-B1FD-6395875628AF}" presName="rootText" presStyleLbl="node2" presStyleIdx="13" presStyleCnt="14" custScaleX="609219" custScaleY="199973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C39D3696-5778-485C-85E4-382E0282C508}" type="pres">
      <dgm:prSet presAssocID="{C5D773B5-E571-46EC-B1FD-6395875628AF}" presName="rootConnector" presStyleLbl="node2" presStyleIdx="13" presStyleCnt="14"/>
      <dgm:spPr/>
      <dgm:t>
        <a:bodyPr/>
        <a:lstStyle/>
        <a:p>
          <a:endParaRPr lang="nb-NO"/>
        </a:p>
      </dgm:t>
    </dgm:pt>
    <dgm:pt modelId="{380FE146-221D-4193-BEF6-9569EAD23BE9}" type="pres">
      <dgm:prSet presAssocID="{C5D773B5-E571-46EC-B1FD-6395875628AF}" presName="hierChild4" presStyleCnt="0"/>
      <dgm:spPr/>
      <dgm:t>
        <a:bodyPr/>
        <a:lstStyle/>
        <a:p>
          <a:endParaRPr lang="nb-NO"/>
        </a:p>
      </dgm:t>
    </dgm:pt>
    <dgm:pt modelId="{8D7E6671-B05E-4228-ADC7-49528B7A7348}" type="pres">
      <dgm:prSet presAssocID="{C5D773B5-E571-46EC-B1FD-6395875628AF}" presName="hierChild5" presStyleCnt="0"/>
      <dgm:spPr/>
      <dgm:t>
        <a:bodyPr/>
        <a:lstStyle/>
        <a:p>
          <a:endParaRPr lang="nb-NO"/>
        </a:p>
      </dgm:t>
    </dgm:pt>
    <dgm:pt modelId="{BBF45976-6F59-45BE-AAE6-5E6C7ED68EAD}" type="pres">
      <dgm:prSet presAssocID="{31F85546-E8FD-485F-88AB-D61C7F386EB1}" presName="hierChild3" presStyleCnt="0"/>
      <dgm:spPr/>
      <dgm:t>
        <a:bodyPr/>
        <a:lstStyle/>
        <a:p>
          <a:endParaRPr lang="nb-NO"/>
        </a:p>
      </dgm:t>
    </dgm:pt>
    <dgm:pt modelId="{B8BBDA70-E062-4FEF-8986-86066DA59EDB}" type="pres">
      <dgm:prSet presAssocID="{A835D7EF-48C6-42DD-BC69-BCD136E2D3F9}" presName="Name115" presStyleLbl="parChTrans1D2" presStyleIdx="14" presStyleCnt="18"/>
      <dgm:spPr/>
      <dgm:t>
        <a:bodyPr/>
        <a:lstStyle/>
        <a:p>
          <a:endParaRPr lang="nb-NO"/>
        </a:p>
      </dgm:t>
    </dgm:pt>
    <dgm:pt modelId="{AD270FBE-029A-464E-856D-2AD65A6C8781}" type="pres">
      <dgm:prSet presAssocID="{61A116CC-E5A9-4B9F-A72B-B26A153B62E3}" presName="hierRoot3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F3C75FE8-F773-47E2-93D0-7BDF7825BE4B}" type="pres">
      <dgm:prSet presAssocID="{61A116CC-E5A9-4B9F-A72B-B26A153B62E3}" presName="rootComposite3" presStyleCnt="0"/>
      <dgm:spPr/>
      <dgm:t>
        <a:bodyPr/>
        <a:lstStyle/>
        <a:p>
          <a:endParaRPr lang="nb-NO"/>
        </a:p>
      </dgm:t>
    </dgm:pt>
    <dgm:pt modelId="{194B940C-0038-4483-B736-02A0414A1665}" type="pres">
      <dgm:prSet presAssocID="{61A116CC-E5A9-4B9F-A72B-B26A153B62E3}" presName="rootText3" presStyleLbl="asst1" presStyleIdx="0" presStyleCnt="4" custScaleX="232741" custScaleY="318066" custLinFactNeighborX="-21965" custLinFactNeighborY="-98891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47D324FC-2816-4198-8D1B-28339B7D5A15}" type="pres">
      <dgm:prSet presAssocID="{61A116CC-E5A9-4B9F-A72B-B26A153B62E3}" presName="rootConnector3" presStyleLbl="asst1" presStyleIdx="0" presStyleCnt="4"/>
      <dgm:spPr/>
      <dgm:t>
        <a:bodyPr/>
        <a:lstStyle/>
        <a:p>
          <a:endParaRPr lang="nb-NO"/>
        </a:p>
      </dgm:t>
    </dgm:pt>
    <dgm:pt modelId="{34C19EED-67F8-4941-AC81-F488918CECCE}" type="pres">
      <dgm:prSet presAssocID="{61A116CC-E5A9-4B9F-A72B-B26A153B62E3}" presName="hierChild6" presStyleCnt="0"/>
      <dgm:spPr/>
      <dgm:t>
        <a:bodyPr/>
        <a:lstStyle/>
        <a:p>
          <a:endParaRPr lang="nb-NO"/>
        </a:p>
      </dgm:t>
    </dgm:pt>
    <dgm:pt modelId="{39AA45E2-21A3-48B2-B87D-4540FE5C2519}" type="pres">
      <dgm:prSet presAssocID="{61A116CC-E5A9-4B9F-A72B-B26A153B62E3}" presName="hierChild7" presStyleCnt="0"/>
      <dgm:spPr/>
      <dgm:t>
        <a:bodyPr/>
        <a:lstStyle/>
        <a:p>
          <a:endParaRPr lang="nb-NO"/>
        </a:p>
      </dgm:t>
    </dgm:pt>
    <dgm:pt modelId="{D3721EBB-4C78-4840-A5EB-085F22B8B3F3}" type="pres">
      <dgm:prSet presAssocID="{4D6BA7DF-F4B1-42E0-B6D5-07D472CD29E3}" presName="Name115" presStyleLbl="parChTrans1D2" presStyleIdx="15" presStyleCnt="18"/>
      <dgm:spPr/>
      <dgm:t>
        <a:bodyPr/>
        <a:lstStyle/>
        <a:p>
          <a:endParaRPr lang="nb-NO"/>
        </a:p>
      </dgm:t>
    </dgm:pt>
    <dgm:pt modelId="{D6EE4B95-287E-4C05-957C-CB85AFFFDAB2}" type="pres">
      <dgm:prSet presAssocID="{C8459B27-7D8D-4FED-8054-AC3524A03EDA}" presName="hierRoot3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C16B8B5A-86DF-4BBC-9270-B5583C75F2AE}" type="pres">
      <dgm:prSet presAssocID="{C8459B27-7D8D-4FED-8054-AC3524A03EDA}" presName="rootComposite3" presStyleCnt="0"/>
      <dgm:spPr/>
      <dgm:t>
        <a:bodyPr/>
        <a:lstStyle/>
        <a:p>
          <a:endParaRPr lang="nb-NO"/>
        </a:p>
      </dgm:t>
    </dgm:pt>
    <dgm:pt modelId="{27378492-1D44-4F6E-82F0-B78141BD4242}" type="pres">
      <dgm:prSet presAssocID="{C8459B27-7D8D-4FED-8054-AC3524A03EDA}" presName="rootText3" presStyleLbl="asst1" presStyleIdx="1" presStyleCnt="4" custScaleX="235248" custScaleY="317439" custLinFactNeighborX="-23721" custLinFactNeighborY="78267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B051646A-316D-4B39-B391-273D1BBB2623}" type="pres">
      <dgm:prSet presAssocID="{C8459B27-7D8D-4FED-8054-AC3524A03EDA}" presName="rootConnector3" presStyleLbl="asst1" presStyleIdx="1" presStyleCnt="4"/>
      <dgm:spPr/>
      <dgm:t>
        <a:bodyPr/>
        <a:lstStyle/>
        <a:p>
          <a:endParaRPr lang="nb-NO"/>
        </a:p>
      </dgm:t>
    </dgm:pt>
    <dgm:pt modelId="{171F6938-FC11-4F25-AF95-62BFFE64E6AD}" type="pres">
      <dgm:prSet presAssocID="{C8459B27-7D8D-4FED-8054-AC3524A03EDA}" presName="hierChild6" presStyleCnt="0"/>
      <dgm:spPr/>
      <dgm:t>
        <a:bodyPr/>
        <a:lstStyle/>
        <a:p>
          <a:endParaRPr lang="nb-NO"/>
        </a:p>
      </dgm:t>
    </dgm:pt>
    <dgm:pt modelId="{1AED2201-8DEF-44DF-B6B0-0D1AE2D77FD8}" type="pres">
      <dgm:prSet presAssocID="{C8459B27-7D8D-4FED-8054-AC3524A03EDA}" presName="hierChild7" presStyleCnt="0"/>
      <dgm:spPr/>
      <dgm:t>
        <a:bodyPr/>
        <a:lstStyle/>
        <a:p>
          <a:endParaRPr lang="nb-NO"/>
        </a:p>
      </dgm:t>
    </dgm:pt>
    <dgm:pt modelId="{5B320E38-16CC-4C00-B60F-A8B33CF9BC4B}" type="pres">
      <dgm:prSet presAssocID="{C96E2CE8-2472-4E14-B1C4-ECBD9DE7BF80}" presName="Name115" presStyleLbl="parChTrans1D2" presStyleIdx="16" presStyleCnt="18"/>
      <dgm:spPr/>
      <dgm:t>
        <a:bodyPr/>
        <a:lstStyle/>
        <a:p>
          <a:endParaRPr lang="nb-NO"/>
        </a:p>
      </dgm:t>
    </dgm:pt>
    <dgm:pt modelId="{7767176F-2999-421B-97C8-9879EAC9C4CD}" type="pres">
      <dgm:prSet presAssocID="{84E866D2-67C2-4ECD-B67F-F9EEB5B8797D}" presName="hierRoot3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02D42927-6BEF-4BC4-AA0E-E7E1C8F630AE}" type="pres">
      <dgm:prSet presAssocID="{84E866D2-67C2-4ECD-B67F-F9EEB5B8797D}" presName="rootComposite3" presStyleCnt="0"/>
      <dgm:spPr/>
      <dgm:t>
        <a:bodyPr/>
        <a:lstStyle/>
        <a:p>
          <a:endParaRPr lang="nb-NO"/>
        </a:p>
      </dgm:t>
    </dgm:pt>
    <dgm:pt modelId="{671D7A3D-337B-4440-BA5E-20BBDBAD55F6}" type="pres">
      <dgm:prSet presAssocID="{84E866D2-67C2-4ECD-B67F-F9EEB5B8797D}" presName="rootText3" presStyleLbl="asst1" presStyleIdx="2" presStyleCnt="4" custScaleX="238932" custScaleY="317593" custLinFactNeighborX="-9502" custLinFactNeighborY="-98892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C698E6D5-AA2B-407C-B92F-CE1E17771FDF}" type="pres">
      <dgm:prSet presAssocID="{84E866D2-67C2-4ECD-B67F-F9EEB5B8797D}" presName="rootConnector3" presStyleLbl="asst1" presStyleIdx="2" presStyleCnt="4"/>
      <dgm:spPr/>
      <dgm:t>
        <a:bodyPr/>
        <a:lstStyle/>
        <a:p>
          <a:endParaRPr lang="nb-NO"/>
        </a:p>
      </dgm:t>
    </dgm:pt>
    <dgm:pt modelId="{6D5646A9-9E73-4D8D-AD35-EAC6229D1319}" type="pres">
      <dgm:prSet presAssocID="{84E866D2-67C2-4ECD-B67F-F9EEB5B8797D}" presName="hierChild6" presStyleCnt="0"/>
      <dgm:spPr/>
      <dgm:t>
        <a:bodyPr/>
        <a:lstStyle/>
        <a:p>
          <a:endParaRPr lang="nb-NO"/>
        </a:p>
      </dgm:t>
    </dgm:pt>
    <dgm:pt modelId="{460A845D-C47B-4408-AA8B-9C5E9C5D76CC}" type="pres">
      <dgm:prSet presAssocID="{84E866D2-67C2-4ECD-B67F-F9EEB5B8797D}" presName="hierChild7" presStyleCnt="0"/>
      <dgm:spPr/>
      <dgm:t>
        <a:bodyPr/>
        <a:lstStyle/>
        <a:p>
          <a:endParaRPr lang="nb-NO"/>
        </a:p>
      </dgm:t>
    </dgm:pt>
    <dgm:pt modelId="{0AC49F7E-2ABB-4985-8391-F3495C4AEAE1}" type="pres">
      <dgm:prSet presAssocID="{DE00B9B9-1553-4EFD-8A84-B05026BA746C}" presName="Name115" presStyleLbl="parChTrans1D2" presStyleIdx="17" presStyleCnt="18"/>
      <dgm:spPr/>
      <dgm:t>
        <a:bodyPr/>
        <a:lstStyle/>
        <a:p>
          <a:endParaRPr lang="nb-NO"/>
        </a:p>
      </dgm:t>
    </dgm:pt>
    <dgm:pt modelId="{DCA1753D-7B65-4070-8F5C-6D2A1A83596C}" type="pres">
      <dgm:prSet presAssocID="{5C102FC3-BD1A-4538-8894-AA07FA3D5420}" presName="hierRoot3" presStyleCnt="0">
        <dgm:presLayoutVars>
          <dgm:hierBranch val="init"/>
        </dgm:presLayoutVars>
      </dgm:prSet>
      <dgm:spPr/>
      <dgm:t>
        <a:bodyPr/>
        <a:lstStyle/>
        <a:p>
          <a:endParaRPr lang="nb-NO"/>
        </a:p>
      </dgm:t>
    </dgm:pt>
    <dgm:pt modelId="{6C23670C-8915-4EE5-BFB9-B80AC6BBAEA7}" type="pres">
      <dgm:prSet presAssocID="{5C102FC3-BD1A-4538-8894-AA07FA3D5420}" presName="rootComposite3" presStyleCnt="0"/>
      <dgm:spPr/>
      <dgm:t>
        <a:bodyPr/>
        <a:lstStyle/>
        <a:p>
          <a:endParaRPr lang="nb-NO"/>
        </a:p>
      </dgm:t>
    </dgm:pt>
    <dgm:pt modelId="{07116DCA-B61B-43B8-8F83-58FEE4969E23}" type="pres">
      <dgm:prSet presAssocID="{5C102FC3-BD1A-4538-8894-AA07FA3D5420}" presName="rootText3" presStyleLbl="asst1" presStyleIdx="3" presStyleCnt="4" custScaleX="238932" custScaleY="317593" custLinFactNeighborX="-9502" custLinFactNeighborY="78268">
        <dgm:presLayoutVars>
          <dgm:chPref val="3"/>
        </dgm:presLayoutVars>
      </dgm:prSet>
      <dgm:spPr>
        <a:prstGeom prst="roundRect">
          <a:avLst/>
        </a:prstGeom>
      </dgm:spPr>
      <dgm:t>
        <a:bodyPr/>
        <a:lstStyle/>
        <a:p>
          <a:endParaRPr lang="nb-NO"/>
        </a:p>
      </dgm:t>
    </dgm:pt>
    <dgm:pt modelId="{E0BD2404-EAB1-4F35-88F5-19D4315F943B}" type="pres">
      <dgm:prSet presAssocID="{5C102FC3-BD1A-4538-8894-AA07FA3D5420}" presName="rootConnector3" presStyleLbl="asst1" presStyleIdx="3" presStyleCnt="4"/>
      <dgm:spPr/>
      <dgm:t>
        <a:bodyPr/>
        <a:lstStyle/>
        <a:p>
          <a:endParaRPr lang="nb-NO"/>
        </a:p>
      </dgm:t>
    </dgm:pt>
    <dgm:pt modelId="{E49EC50C-3640-4A2F-8634-93318A14DE4A}" type="pres">
      <dgm:prSet presAssocID="{5C102FC3-BD1A-4538-8894-AA07FA3D5420}" presName="hierChild6" presStyleCnt="0"/>
      <dgm:spPr/>
      <dgm:t>
        <a:bodyPr/>
        <a:lstStyle/>
        <a:p>
          <a:endParaRPr lang="nb-NO"/>
        </a:p>
      </dgm:t>
    </dgm:pt>
    <dgm:pt modelId="{8A6C4E6F-7BF3-4986-A83B-304F3C44FA8D}" type="pres">
      <dgm:prSet presAssocID="{5C102FC3-BD1A-4538-8894-AA07FA3D5420}" presName="hierChild7" presStyleCnt="0"/>
      <dgm:spPr/>
      <dgm:t>
        <a:bodyPr/>
        <a:lstStyle/>
        <a:p>
          <a:endParaRPr lang="nb-NO"/>
        </a:p>
      </dgm:t>
    </dgm:pt>
  </dgm:ptLst>
  <dgm:cxnLst>
    <dgm:cxn modelId="{7D2567C6-1512-4000-AE8F-2A69EA7F428C}" type="presOf" srcId="{28BFA176-3399-4C33-BA9C-2D56657673BB}" destId="{CDAACB11-7785-4295-9592-648921381E77}" srcOrd="1" destOrd="0" presId="urn:microsoft.com/office/officeart/2009/3/layout/HorizontalOrganizationChart"/>
    <dgm:cxn modelId="{58EF336B-CD48-494D-A729-8420DEB5030A}" type="presOf" srcId="{61A116CC-E5A9-4B9F-A72B-B26A153B62E3}" destId="{47D324FC-2816-4198-8D1B-28339B7D5A15}" srcOrd="1" destOrd="0" presId="urn:microsoft.com/office/officeart/2009/3/layout/HorizontalOrganizationChart"/>
    <dgm:cxn modelId="{2F7AA4EF-288D-494E-98B9-6D4855BCCE03}" type="presOf" srcId="{95D20FE7-F6A1-4D08-8538-336D552B4B4A}" destId="{3122E004-8525-48AF-B040-6E0A6126B9D6}" srcOrd="0" destOrd="0" presId="urn:microsoft.com/office/officeart/2009/3/layout/HorizontalOrganizationChart"/>
    <dgm:cxn modelId="{CECAB737-8171-414A-A8C9-CCB96E3E73A2}" type="presOf" srcId="{48EDB0E6-934E-4E2F-8960-ABBA8697F128}" destId="{B864BF7D-F2B9-4DEB-9570-33BBCDE25DD2}" srcOrd="1" destOrd="0" presId="urn:microsoft.com/office/officeart/2009/3/layout/HorizontalOrganizationChart"/>
    <dgm:cxn modelId="{D9399E93-5692-4ADD-B923-BC12DA11D0F5}" srcId="{31F85546-E8FD-485F-88AB-D61C7F386EB1}" destId="{726F5070-22FB-40B0-81CB-1BBF736E5811}" srcOrd="9" destOrd="0" parTransId="{E6B4940F-98DD-468B-AE28-D081520F125E}" sibTransId="{5CF04BBA-7A1A-4A64-B328-8944BA2DA0C6}"/>
    <dgm:cxn modelId="{359E22EE-E86F-4438-8D97-F138433C1DE1}" type="presOf" srcId="{95BEEA68-6E45-4257-AFA2-0F8BD1F6E999}" destId="{BE4C5272-4FD5-4415-8AF3-5B76B57CC5FB}" srcOrd="0" destOrd="0" presId="urn:microsoft.com/office/officeart/2009/3/layout/HorizontalOrganizationChart"/>
    <dgm:cxn modelId="{DCC0707B-DAD5-498E-8902-1EFC26B7B7E5}" type="presOf" srcId="{95BEEA68-6E45-4257-AFA2-0F8BD1F6E999}" destId="{B084AD07-FEDF-4935-A255-29B194FD84AF}" srcOrd="1" destOrd="0" presId="urn:microsoft.com/office/officeart/2009/3/layout/HorizontalOrganizationChart"/>
    <dgm:cxn modelId="{39C64D83-EC80-4484-838F-AC2D31A06785}" type="presOf" srcId="{C5D773B5-E571-46EC-B1FD-6395875628AF}" destId="{596E066C-032D-4E00-9FE9-2B75249D0D86}" srcOrd="0" destOrd="0" presId="urn:microsoft.com/office/officeart/2009/3/layout/HorizontalOrganizationChart"/>
    <dgm:cxn modelId="{C33261F9-DD39-4C2D-AF43-8351C1F4A8A3}" type="presOf" srcId="{54D66A56-5F25-46FC-B6F3-A9847653E05A}" destId="{C4AD7437-B7EE-40C2-8B4C-F7E4B1B62ACF}" srcOrd="1" destOrd="0" presId="urn:microsoft.com/office/officeart/2009/3/layout/HorizontalOrganizationChart"/>
    <dgm:cxn modelId="{5D929D9B-ABCF-4CF3-A569-C696F5747025}" type="presOf" srcId="{5C102FC3-BD1A-4538-8894-AA07FA3D5420}" destId="{07116DCA-B61B-43B8-8F83-58FEE4969E23}" srcOrd="0" destOrd="0" presId="urn:microsoft.com/office/officeart/2009/3/layout/HorizontalOrganizationChart"/>
    <dgm:cxn modelId="{1DF080CD-C331-47F7-AC22-3546BE417BD8}" srcId="{31F85546-E8FD-485F-88AB-D61C7F386EB1}" destId="{A8261542-D018-4FB6-ABAA-2A5BC50BE4E9}" srcOrd="6" destOrd="0" parTransId="{3DBF91F3-47DD-4E25-A566-C3E485767A35}" sibTransId="{64C79DAD-ED7D-46DF-BE3F-0D0B18602EC4}"/>
    <dgm:cxn modelId="{04D23A03-4DA5-4926-8ED1-F87A692AF7AA}" type="presOf" srcId="{7751746B-69E9-40D9-879A-9CEBD7139696}" destId="{5AF52518-A89A-4D33-B838-0B40FCD2BF10}" srcOrd="0" destOrd="0" presId="urn:microsoft.com/office/officeart/2009/3/layout/HorizontalOrganizationChart"/>
    <dgm:cxn modelId="{73077CBE-A8D8-4865-9BC5-22BBE634F4FA}" type="presOf" srcId="{46635E91-ECE3-4AB2-9289-AEB0B3AAD5E4}" destId="{B85C1E2B-9457-44E0-BCBE-5F56FCFF2E85}" srcOrd="0" destOrd="0" presId="urn:microsoft.com/office/officeart/2009/3/layout/HorizontalOrganizationChart"/>
    <dgm:cxn modelId="{60965028-3BE9-4D71-A3AA-EA51E43EE7A1}" type="presOf" srcId="{28BFA176-3399-4C33-BA9C-2D56657673BB}" destId="{0019AB8E-A64E-437D-9890-6BB53A5FB33A}" srcOrd="0" destOrd="0" presId="urn:microsoft.com/office/officeart/2009/3/layout/HorizontalOrganizationChart"/>
    <dgm:cxn modelId="{96B583E0-3CF3-4312-BFBF-D0828D5537E2}" srcId="{31F85546-E8FD-485F-88AB-D61C7F386EB1}" destId="{C37368DF-165F-48A2-AB79-03EBCAD2FC5B}" srcOrd="4" destOrd="0" parTransId="{0C52320A-3B47-4D25-BDC9-D875C8F4612B}" sibTransId="{693CFB7A-A7B8-45DA-B202-F9E5F460527D}"/>
    <dgm:cxn modelId="{3ACB8486-C439-42F2-9BF2-4B5B9C757B15}" type="presOf" srcId="{726F5070-22FB-40B0-81CB-1BBF736E5811}" destId="{7FDED651-0AE5-45E6-8293-25DF9F654610}" srcOrd="1" destOrd="0" presId="urn:microsoft.com/office/officeart/2009/3/layout/HorizontalOrganizationChart"/>
    <dgm:cxn modelId="{A3FCAFCF-305A-4335-BED9-90CE12A9EA78}" srcId="{951F0594-70CC-42B8-8996-305585872F54}" destId="{31F85546-E8FD-485F-88AB-D61C7F386EB1}" srcOrd="0" destOrd="0" parTransId="{65D8EB40-510D-4C9B-8A21-C924BFF17640}" sibTransId="{6469CE69-D19A-47F1-B2EB-0209A29BF9D5}"/>
    <dgm:cxn modelId="{D9068E2B-F411-4CCE-9E3D-D046FF59E46E}" srcId="{31F85546-E8FD-485F-88AB-D61C7F386EB1}" destId="{62B17B10-3100-47D8-A4AA-B4B25E21D318}" srcOrd="8" destOrd="0" parTransId="{47D6ABA7-38CD-403E-B1FC-0FFD5B8C70B5}" sibTransId="{7535A075-3789-479F-A6B9-83A07121EAA7}"/>
    <dgm:cxn modelId="{E281BC97-7692-42BC-A1E3-907CCB55702D}" type="presOf" srcId="{C8459B27-7D8D-4FED-8054-AC3524A03EDA}" destId="{27378492-1D44-4F6E-82F0-B78141BD4242}" srcOrd="0" destOrd="0" presId="urn:microsoft.com/office/officeart/2009/3/layout/HorizontalOrganizationChart"/>
    <dgm:cxn modelId="{C2A6EFD6-5D03-456A-942D-C7F43629EA51}" type="presOf" srcId="{D84DF43D-ED01-4C54-8592-AB53BEA649B8}" destId="{0D1F3F5C-5FFA-4085-8C0E-1A185C860D1D}" srcOrd="0" destOrd="0" presId="urn:microsoft.com/office/officeart/2009/3/layout/HorizontalOrganizationChart"/>
    <dgm:cxn modelId="{73A28EA4-72FF-4DD7-9EBC-D77BC7DAB61B}" srcId="{31F85546-E8FD-485F-88AB-D61C7F386EB1}" destId="{46635E91-ECE3-4AB2-9289-AEB0B3AAD5E4}" srcOrd="5" destOrd="0" parTransId="{95D20FE7-F6A1-4D08-8538-336D552B4B4A}" sibTransId="{F1B161FF-CF38-42F0-BB66-F559EC69D2F2}"/>
    <dgm:cxn modelId="{DE2E122A-393C-4792-9EE6-400C6ED8784B}" type="presOf" srcId="{C8459B27-7D8D-4FED-8054-AC3524A03EDA}" destId="{B051646A-316D-4B39-B391-273D1BBB2623}" srcOrd="1" destOrd="0" presId="urn:microsoft.com/office/officeart/2009/3/layout/HorizontalOrganizationChart"/>
    <dgm:cxn modelId="{8D9AFAAA-2A27-44C8-BB95-DDF54E09BC74}" srcId="{31F85546-E8FD-485F-88AB-D61C7F386EB1}" destId="{B0BCCA9D-EE96-4973-8C31-AD72F1C2D85A}" srcOrd="10" destOrd="0" parTransId="{488E8CBF-E027-4AD6-A3CD-3DB9DF8BF77F}" sibTransId="{28699BDF-981B-4C8E-A2EC-BC9F95F89138}"/>
    <dgm:cxn modelId="{98D8AB25-CD27-49A0-A010-A590728F9166}" srcId="{31F85546-E8FD-485F-88AB-D61C7F386EB1}" destId="{5C102FC3-BD1A-4538-8894-AA07FA3D5420}" srcOrd="3" destOrd="0" parTransId="{DE00B9B9-1553-4EFD-8A84-B05026BA746C}" sibTransId="{27B64BB4-15AF-4DB0-90B3-D39FCA3ED4FC}"/>
    <dgm:cxn modelId="{3C6CF902-8A5B-4A32-86EB-BA66113AF412}" type="presOf" srcId="{051F1529-BBB4-48D0-B969-4ACDC019100D}" destId="{1850725D-AEE5-4906-AA1E-69F5BC1C42B6}" srcOrd="1" destOrd="0" presId="urn:microsoft.com/office/officeart/2009/3/layout/HorizontalOrganizationChart"/>
    <dgm:cxn modelId="{3C1AF2BB-4CC8-4C4D-8099-D2649E18C560}" type="presOf" srcId="{C37368DF-165F-48A2-AB79-03EBCAD2FC5B}" destId="{80FF554D-DF93-4BEC-B785-C26A3656299B}" srcOrd="1" destOrd="0" presId="urn:microsoft.com/office/officeart/2009/3/layout/HorizontalOrganizationChart"/>
    <dgm:cxn modelId="{74B25234-902A-48F7-9D60-819A2F06D335}" type="presOf" srcId="{B0BCCA9D-EE96-4973-8C31-AD72F1C2D85A}" destId="{187EA4FF-6648-4C55-943D-60C92E175A3D}" srcOrd="0" destOrd="0" presId="urn:microsoft.com/office/officeart/2009/3/layout/HorizontalOrganizationChart"/>
    <dgm:cxn modelId="{D8B9A6C0-3BE7-4C34-AC1D-ACD3E0AF3606}" type="presOf" srcId="{84E866D2-67C2-4ECD-B67F-F9EEB5B8797D}" destId="{671D7A3D-337B-4440-BA5E-20BBDBAD55F6}" srcOrd="0" destOrd="0" presId="urn:microsoft.com/office/officeart/2009/3/layout/HorizontalOrganizationChart"/>
    <dgm:cxn modelId="{7DC7BF34-962A-4798-B660-2307D1F6CC5A}" type="presOf" srcId="{84E866D2-67C2-4ECD-B67F-F9EEB5B8797D}" destId="{C698E6D5-AA2B-407C-B92F-CE1E17771FDF}" srcOrd="1" destOrd="0" presId="urn:microsoft.com/office/officeart/2009/3/layout/HorizontalOrganizationChart"/>
    <dgm:cxn modelId="{EEF947B2-B8E0-493B-AB04-80596F976CEF}" type="presOf" srcId="{6E0A51BA-BA22-4E8E-9656-E79FE74ECDFF}" destId="{83B595A7-4E27-46A5-86B2-4AD47E61F026}" srcOrd="0" destOrd="0" presId="urn:microsoft.com/office/officeart/2009/3/layout/HorizontalOrganizationChart"/>
    <dgm:cxn modelId="{7965DF92-19A9-404C-B79D-D2EF08A70355}" type="presOf" srcId="{C5D773B5-E571-46EC-B1FD-6395875628AF}" destId="{C39D3696-5778-485C-85E4-382E0282C508}" srcOrd="1" destOrd="0" presId="urn:microsoft.com/office/officeart/2009/3/layout/HorizontalOrganizationChart"/>
    <dgm:cxn modelId="{9F7CEC25-7470-4F8E-A250-9BDFF4B9DFD3}" type="presOf" srcId="{46635E91-ECE3-4AB2-9289-AEB0B3AAD5E4}" destId="{FA7F5249-CEB6-44AB-AAD5-A08AA7E2DF7A}" srcOrd="1" destOrd="0" presId="urn:microsoft.com/office/officeart/2009/3/layout/HorizontalOrganizationChart"/>
    <dgm:cxn modelId="{19DE5505-063D-40F8-8E5B-12D0A3F2B585}" srcId="{31F85546-E8FD-485F-88AB-D61C7F386EB1}" destId="{711044E5-7A0D-4E1C-BA06-7195565F6C19}" srcOrd="11" destOrd="0" parTransId="{6516D2E0-1D83-40C2-B0FB-57BF507D6A51}" sibTransId="{776DDEFF-3A18-4D83-9F5F-64D51065F294}"/>
    <dgm:cxn modelId="{67A19A2E-1031-4D3E-AACD-E0B9AF3AEB2C}" type="presOf" srcId="{31F85546-E8FD-485F-88AB-D61C7F386EB1}" destId="{B759C001-51A3-41E8-A27B-FDDDBAF3461B}" srcOrd="0" destOrd="0" presId="urn:microsoft.com/office/officeart/2009/3/layout/HorizontalOrganizationChart"/>
    <dgm:cxn modelId="{EE4CC2FE-6D92-4123-9E6D-FD13C32DF787}" type="presOf" srcId="{78B225E8-100E-4266-860A-FF236F3FAFB9}" destId="{17BFDBD1-59DD-4CFE-9ED8-A5130D3B625A}" srcOrd="0" destOrd="0" presId="urn:microsoft.com/office/officeart/2009/3/layout/HorizontalOrganizationChart"/>
    <dgm:cxn modelId="{B2356FC1-E7FB-4A2D-A5CA-3AAA7FEF3E3E}" srcId="{31F85546-E8FD-485F-88AB-D61C7F386EB1}" destId="{B383D046-B627-4104-8483-188279CC0AB0}" srcOrd="12" destOrd="0" parTransId="{6E0A51BA-BA22-4E8E-9656-E79FE74ECDFF}" sibTransId="{E7204A28-7B34-4CA2-95F3-FC6FC5716117}"/>
    <dgm:cxn modelId="{34996E34-2935-4E12-988E-CAF1C4820D82}" type="presOf" srcId="{3DBF91F3-47DD-4E25-A566-C3E485767A35}" destId="{8362746C-3343-4E37-A733-0E93B668C6CE}" srcOrd="0" destOrd="0" presId="urn:microsoft.com/office/officeart/2009/3/layout/HorizontalOrganizationChart"/>
    <dgm:cxn modelId="{D50795ED-DC60-4838-B391-58C993398409}" srcId="{31F85546-E8FD-485F-88AB-D61C7F386EB1}" destId="{051F1529-BBB4-48D0-B969-4ACDC019100D}" srcOrd="16" destOrd="0" parTransId="{9B29DBB5-58F4-4BF1-9FEA-BD1058B5DFAF}" sibTransId="{BE56BEEC-D864-448D-9B20-65C2CDF87267}"/>
    <dgm:cxn modelId="{1F637FCD-90C8-464E-B225-D42C604FB72B}" type="presOf" srcId="{0C52320A-3B47-4D25-BDC9-D875C8F4612B}" destId="{F2EB4B5B-A6BE-402B-BD64-D08400C7B531}" srcOrd="0" destOrd="0" presId="urn:microsoft.com/office/officeart/2009/3/layout/HorizontalOrganizationChart"/>
    <dgm:cxn modelId="{C748C268-C6DF-4E5F-BB01-1420A61E5344}" type="presOf" srcId="{5C102FC3-BD1A-4538-8894-AA07FA3D5420}" destId="{E0BD2404-EAB1-4F35-88F5-19D4315F943B}" srcOrd="1" destOrd="0" presId="urn:microsoft.com/office/officeart/2009/3/layout/HorizontalOrganizationChart"/>
    <dgm:cxn modelId="{4397269C-2CC5-4C6B-AB57-5FD1739CEAA1}" type="presOf" srcId="{B0BCCA9D-EE96-4973-8C31-AD72F1C2D85A}" destId="{9567A8DC-4722-4D6A-8247-D4750A8ED9D6}" srcOrd="1" destOrd="0" presId="urn:microsoft.com/office/officeart/2009/3/layout/HorizontalOrganizationChart"/>
    <dgm:cxn modelId="{CDFECB7E-0380-46FE-B8B9-1EB9CFC98440}" srcId="{31F85546-E8FD-485F-88AB-D61C7F386EB1}" destId="{95BEEA68-6E45-4257-AFA2-0F8BD1F6E999}" srcOrd="13" destOrd="0" parTransId="{78B225E8-100E-4266-860A-FF236F3FAFB9}" sibTransId="{EA4F3F70-9510-4CEF-AD10-5B4F82AC3B35}"/>
    <dgm:cxn modelId="{7A61D022-5159-4AAD-95BE-4FA8E98A4A9F}" type="presOf" srcId="{726F5070-22FB-40B0-81CB-1BBF736E5811}" destId="{8E79C9CD-C52D-47BE-B1B4-960A9C5C6949}" srcOrd="0" destOrd="0" presId="urn:microsoft.com/office/officeart/2009/3/layout/HorizontalOrganizationChart"/>
    <dgm:cxn modelId="{0D0AB791-D8BE-49EC-B66A-D312FB733838}" type="presOf" srcId="{47D6ABA7-38CD-403E-B1FC-0FFD5B8C70B5}" destId="{1DD86CF1-A6DE-4238-A9B6-43088B81BACB}" srcOrd="0" destOrd="0" presId="urn:microsoft.com/office/officeart/2009/3/layout/HorizontalOrganizationChart"/>
    <dgm:cxn modelId="{8B005E97-529A-473A-9591-D05AA07B1A7A}" type="presOf" srcId="{61A116CC-E5A9-4B9F-A72B-B26A153B62E3}" destId="{194B940C-0038-4483-B736-02A0414A1665}" srcOrd="0" destOrd="0" presId="urn:microsoft.com/office/officeart/2009/3/layout/HorizontalOrganizationChart"/>
    <dgm:cxn modelId="{EC38970F-41E1-47DC-91B1-F08D6E78C6BF}" type="presOf" srcId="{9B29DBB5-58F4-4BF1-9FEA-BD1058B5DFAF}" destId="{C888EC8E-1A8E-4121-87DF-A500F6B0501C}" srcOrd="0" destOrd="0" presId="urn:microsoft.com/office/officeart/2009/3/layout/HorizontalOrganizationChart"/>
    <dgm:cxn modelId="{D70774A7-3D0A-433C-8639-42B95E5DB9A3}" type="presOf" srcId="{B383D046-B627-4104-8483-188279CC0AB0}" destId="{0CABA240-2502-47E5-8CC0-82B6B75EE85E}" srcOrd="1" destOrd="0" presId="urn:microsoft.com/office/officeart/2009/3/layout/HorizontalOrganizationChart"/>
    <dgm:cxn modelId="{ED8B2EA1-6C7F-448E-8BCF-981F411A7B45}" srcId="{31F85546-E8FD-485F-88AB-D61C7F386EB1}" destId="{C5D773B5-E571-46EC-B1FD-6395875628AF}" srcOrd="17" destOrd="0" parTransId="{CD05DBC4-10D4-462F-9D5B-009CBBCB70A6}" sibTransId="{06AF46ED-7EB0-4D17-9690-B4BA79CD2195}"/>
    <dgm:cxn modelId="{B4682212-E123-402E-86E9-9F1FCD84B491}" srcId="{31F85546-E8FD-485F-88AB-D61C7F386EB1}" destId="{48EDB0E6-934E-4E2F-8960-ABBA8697F128}" srcOrd="7" destOrd="0" parTransId="{D84DF43D-ED01-4C54-8592-AB53BEA649B8}" sibTransId="{A0C19C04-98C0-42BF-8E33-D5D1E38B1ED5}"/>
    <dgm:cxn modelId="{C529F571-2360-438B-ABF8-64C8EB10D590}" type="presOf" srcId="{A835D7EF-48C6-42DD-BC69-BCD136E2D3F9}" destId="{B8BBDA70-E062-4FEF-8986-86066DA59EDB}" srcOrd="0" destOrd="0" presId="urn:microsoft.com/office/officeart/2009/3/layout/HorizontalOrganizationChart"/>
    <dgm:cxn modelId="{165731D6-EF52-405F-B5BD-2326B04353B0}" type="presOf" srcId="{711044E5-7A0D-4E1C-BA06-7195565F6C19}" destId="{45660F9B-46D0-466C-A126-CB927C27AFCD}" srcOrd="1" destOrd="0" presId="urn:microsoft.com/office/officeart/2009/3/layout/HorizontalOrganizationChart"/>
    <dgm:cxn modelId="{2F1B5413-712F-42D1-B109-AA03276BEBA2}" srcId="{31F85546-E8FD-485F-88AB-D61C7F386EB1}" destId="{28BFA176-3399-4C33-BA9C-2D56657673BB}" srcOrd="15" destOrd="0" parTransId="{B6F1C9B0-9465-4774-8185-81BC2D843F12}" sibTransId="{F7DF7EDF-BA1B-4228-9265-5AAF749C83AE}"/>
    <dgm:cxn modelId="{3E61ABF3-6769-4F4A-B37F-638830110F43}" type="presOf" srcId="{051F1529-BBB4-48D0-B969-4ACDC019100D}" destId="{F73CC906-0845-48C8-8B8F-090E96A60656}" srcOrd="0" destOrd="0" presId="urn:microsoft.com/office/officeart/2009/3/layout/HorizontalOrganizationChart"/>
    <dgm:cxn modelId="{4B3A5FE1-576B-4AF3-A2C2-955E72DE2574}" type="presOf" srcId="{711044E5-7A0D-4E1C-BA06-7195565F6C19}" destId="{3CC29F65-241D-426D-84B0-B14029A8CEED}" srcOrd="0" destOrd="0" presId="urn:microsoft.com/office/officeart/2009/3/layout/HorizontalOrganizationChart"/>
    <dgm:cxn modelId="{FD3BFE6E-8A1D-48B4-A251-F40B4C0399EE}" type="presOf" srcId="{951F0594-70CC-42B8-8996-305585872F54}" destId="{4FC30BFF-6C87-46AB-99B8-3EFBC505D3EF}" srcOrd="0" destOrd="0" presId="urn:microsoft.com/office/officeart/2009/3/layout/HorizontalOrganizationChart"/>
    <dgm:cxn modelId="{C26D186B-F3E3-4317-BF5F-EE746AD3CE3B}" type="presOf" srcId="{48EDB0E6-934E-4E2F-8960-ABBA8697F128}" destId="{5AABC5E0-FA85-414D-85A8-C8617D736C45}" srcOrd="0" destOrd="0" presId="urn:microsoft.com/office/officeart/2009/3/layout/HorizontalOrganizationChart"/>
    <dgm:cxn modelId="{1B634C0C-0E46-40B0-BE52-D8A5D6F4E3A1}" type="presOf" srcId="{CD05DBC4-10D4-462F-9D5B-009CBBCB70A6}" destId="{9DE43C64-8C64-4179-8465-566FF3C71759}" srcOrd="0" destOrd="0" presId="urn:microsoft.com/office/officeart/2009/3/layout/HorizontalOrganizationChart"/>
    <dgm:cxn modelId="{DA845381-A841-455E-BA8D-B342C397AF7A}" type="presOf" srcId="{62B17B10-3100-47D8-A4AA-B4B25E21D318}" destId="{7856D2BE-4302-4777-8933-ADA16FD9CCFB}" srcOrd="0" destOrd="0" presId="urn:microsoft.com/office/officeart/2009/3/layout/HorizontalOrganizationChart"/>
    <dgm:cxn modelId="{6A4C4840-3EF9-4A82-9438-57E24C7ED032}" type="presOf" srcId="{E6B4940F-98DD-468B-AE28-D081520F125E}" destId="{F0023B9A-7DB6-4370-80FA-E1E7F8E0245E}" srcOrd="0" destOrd="0" presId="urn:microsoft.com/office/officeart/2009/3/layout/HorizontalOrganizationChart"/>
    <dgm:cxn modelId="{978902E5-8BAA-44B5-8E85-8BB141D60E3A}" type="presOf" srcId="{B383D046-B627-4104-8483-188279CC0AB0}" destId="{1953BCFA-210D-4A09-A920-829595D1D5C7}" srcOrd="0" destOrd="0" presId="urn:microsoft.com/office/officeart/2009/3/layout/HorizontalOrganizationChart"/>
    <dgm:cxn modelId="{9104EBE4-C5A3-4A94-BC3E-83224C1A7048}" srcId="{31F85546-E8FD-485F-88AB-D61C7F386EB1}" destId="{C8459B27-7D8D-4FED-8054-AC3524A03EDA}" srcOrd="1" destOrd="0" parTransId="{4D6BA7DF-F4B1-42E0-B6D5-07D472CD29E3}" sibTransId="{8B9656E3-A486-4798-9CAA-A444B53E33BF}"/>
    <dgm:cxn modelId="{D2F43740-50D5-472E-8AF2-B81095311C58}" type="presOf" srcId="{31F85546-E8FD-485F-88AB-D61C7F386EB1}" destId="{CED82F2A-70BC-45F3-8BAC-F79690F7DE33}" srcOrd="1" destOrd="0" presId="urn:microsoft.com/office/officeart/2009/3/layout/HorizontalOrganizationChart"/>
    <dgm:cxn modelId="{6821D728-BC22-4184-AE37-B9F146D8F4A9}" type="presOf" srcId="{488E8CBF-E027-4AD6-A3CD-3DB9DF8BF77F}" destId="{8081614C-E4E6-469E-BEE1-6E73C2859E85}" srcOrd="0" destOrd="0" presId="urn:microsoft.com/office/officeart/2009/3/layout/HorizontalOrganizationChart"/>
    <dgm:cxn modelId="{0F0D59FC-7FCD-4051-A2CA-77A54B4B2E2D}" type="presOf" srcId="{C37368DF-165F-48A2-AB79-03EBCAD2FC5B}" destId="{AE8940C8-DA71-4DBC-984A-5E196479C825}" srcOrd="0" destOrd="0" presId="urn:microsoft.com/office/officeart/2009/3/layout/HorizontalOrganizationChart"/>
    <dgm:cxn modelId="{D1D5657F-41FC-450E-BE08-EEC1A2B7CF6D}" type="presOf" srcId="{A8261542-D018-4FB6-ABAA-2A5BC50BE4E9}" destId="{CCC76F8E-5101-436B-B7A0-8C4418E94C0D}" srcOrd="0" destOrd="0" presId="urn:microsoft.com/office/officeart/2009/3/layout/HorizontalOrganizationChart"/>
    <dgm:cxn modelId="{50BF0A6A-22DE-4644-AECF-DD3E5AA96FAA}" type="presOf" srcId="{62B17B10-3100-47D8-A4AA-B4B25E21D318}" destId="{B6A75326-ABB6-4422-BAE8-7360F3162AE5}" srcOrd="1" destOrd="0" presId="urn:microsoft.com/office/officeart/2009/3/layout/HorizontalOrganizationChart"/>
    <dgm:cxn modelId="{B1DFED99-7DF0-4061-9AC1-B40A49CC9919}" type="presOf" srcId="{6516D2E0-1D83-40C2-B0FB-57BF507D6A51}" destId="{58E905FB-7F11-42F0-91CB-A749E950D59F}" srcOrd="0" destOrd="0" presId="urn:microsoft.com/office/officeart/2009/3/layout/HorizontalOrganizationChart"/>
    <dgm:cxn modelId="{5F57568C-9AC6-4F54-AFD3-B49267169D28}" type="presOf" srcId="{4D6BA7DF-F4B1-42E0-B6D5-07D472CD29E3}" destId="{D3721EBB-4C78-4840-A5EB-085F22B8B3F3}" srcOrd="0" destOrd="0" presId="urn:microsoft.com/office/officeart/2009/3/layout/HorizontalOrganizationChart"/>
    <dgm:cxn modelId="{AC3D3FD5-FC0C-45EF-AD7E-00C6C05D8721}" srcId="{31F85546-E8FD-485F-88AB-D61C7F386EB1}" destId="{54D66A56-5F25-46FC-B6F3-A9847653E05A}" srcOrd="14" destOrd="0" parTransId="{7751746B-69E9-40D9-879A-9CEBD7139696}" sibTransId="{C2D3729F-59CA-4979-9E90-EF38B9D1323F}"/>
    <dgm:cxn modelId="{6EF3468A-4154-4748-8171-AB9791E4E771}" type="presOf" srcId="{B6F1C9B0-9465-4774-8185-81BC2D843F12}" destId="{7DB3587D-2324-4B4F-8F45-30C207A56B6E}" srcOrd="0" destOrd="0" presId="urn:microsoft.com/office/officeart/2009/3/layout/HorizontalOrganizationChart"/>
    <dgm:cxn modelId="{B19733C8-7226-492F-9986-21BD68531B03}" type="presOf" srcId="{54D66A56-5F25-46FC-B6F3-A9847653E05A}" destId="{3114991B-420A-4785-ABBD-5CB33B81BE4F}" srcOrd="0" destOrd="0" presId="urn:microsoft.com/office/officeart/2009/3/layout/HorizontalOrganizationChart"/>
    <dgm:cxn modelId="{F39D0295-7840-4D55-BEF4-49A2F0F631D1}" type="presOf" srcId="{C96E2CE8-2472-4E14-B1C4-ECBD9DE7BF80}" destId="{5B320E38-16CC-4C00-B60F-A8B33CF9BC4B}" srcOrd="0" destOrd="0" presId="urn:microsoft.com/office/officeart/2009/3/layout/HorizontalOrganizationChart"/>
    <dgm:cxn modelId="{7179047A-3207-47B6-B366-5A70C5422D44}" type="presOf" srcId="{A8261542-D018-4FB6-ABAA-2A5BC50BE4E9}" destId="{B23E2319-CB3C-46D5-8554-5D9C3F6CB4BB}" srcOrd="1" destOrd="0" presId="urn:microsoft.com/office/officeart/2009/3/layout/HorizontalOrganizationChart"/>
    <dgm:cxn modelId="{4D0B19D4-C0CE-495A-AC53-4F3C3A6407D6}" srcId="{31F85546-E8FD-485F-88AB-D61C7F386EB1}" destId="{84E866D2-67C2-4ECD-B67F-F9EEB5B8797D}" srcOrd="2" destOrd="0" parTransId="{C96E2CE8-2472-4E14-B1C4-ECBD9DE7BF80}" sibTransId="{5CDC7E3E-C48D-4CAA-A428-3BC575EC21A5}"/>
    <dgm:cxn modelId="{227AF641-2F8F-401F-897D-D661123F54F6}" type="presOf" srcId="{DE00B9B9-1553-4EFD-8A84-B05026BA746C}" destId="{0AC49F7E-2ABB-4985-8391-F3495C4AEAE1}" srcOrd="0" destOrd="0" presId="urn:microsoft.com/office/officeart/2009/3/layout/HorizontalOrganizationChart"/>
    <dgm:cxn modelId="{73632597-DC1F-46E8-A72F-FDFE4740ADBE}" srcId="{31F85546-E8FD-485F-88AB-D61C7F386EB1}" destId="{61A116CC-E5A9-4B9F-A72B-B26A153B62E3}" srcOrd="0" destOrd="0" parTransId="{A835D7EF-48C6-42DD-BC69-BCD136E2D3F9}" sibTransId="{C9B1D396-4A19-44B6-94AE-D29DD0E8D0EA}"/>
    <dgm:cxn modelId="{F9F4CF34-6D31-4316-BD36-91AB381CF3D8}" type="presParOf" srcId="{4FC30BFF-6C87-46AB-99B8-3EFBC505D3EF}" destId="{977C9DED-CB9C-4D35-B264-7CA9A7F64E46}" srcOrd="0" destOrd="0" presId="urn:microsoft.com/office/officeart/2009/3/layout/HorizontalOrganizationChart"/>
    <dgm:cxn modelId="{A44511E1-C356-43A1-A763-246FE180EF3B}" type="presParOf" srcId="{977C9DED-CB9C-4D35-B264-7CA9A7F64E46}" destId="{239B4698-3B1B-40C8-8EDA-5172A15DCBC7}" srcOrd="0" destOrd="0" presId="urn:microsoft.com/office/officeart/2009/3/layout/HorizontalOrganizationChart"/>
    <dgm:cxn modelId="{EDE3DB24-4745-415B-858F-19FF32008CE0}" type="presParOf" srcId="{239B4698-3B1B-40C8-8EDA-5172A15DCBC7}" destId="{B759C001-51A3-41E8-A27B-FDDDBAF3461B}" srcOrd="0" destOrd="0" presId="urn:microsoft.com/office/officeart/2009/3/layout/HorizontalOrganizationChart"/>
    <dgm:cxn modelId="{1863D87B-D460-4BAB-85AB-811C99BC7CE6}" type="presParOf" srcId="{239B4698-3B1B-40C8-8EDA-5172A15DCBC7}" destId="{CED82F2A-70BC-45F3-8BAC-F79690F7DE33}" srcOrd="1" destOrd="0" presId="urn:microsoft.com/office/officeart/2009/3/layout/HorizontalOrganizationChart"/>
    <dgm:cxn modelId="{AA0F6B7C-A683-4612-B087-C4CD8441BE12}" type="presParOf" srcId="{977C9DED-CB9C-4D35-B264-7CA9A7F64E46}" destId="{DEC9449B-C4A3-4BEF-97D8-5AC603A0854E}" srcOrd="1" destOrd="0" presId="urn:microsoft.com/office/officeart/2009/3/layout/HorizontalOrganizationChart"/>
    <dgm:cxn modelId="{2615EBD5-2603-46C9-9162-3BC27D90A47C}" type="presParOf" srcId="{DEC9449B-C4A3-4BEF-97D8-5AC603A0854E}" destId="{F2EB4B5B-A6BE-402B-BD64-D08400C7B531}" srcOrd="0" destOrd="0" presId="urn:microsoft.com/office/officeart/2009/3/layout/HorizontalOrganizationChart"/>
    <dgm:cxn modelId="{4DCF0B72-F7D6-443A-B183-CB95D578F0C1}" type="presParOf" srcId="{DEC9449B-C4A3-4BEF-97D8-5AC603A0854E}" destId="{3D6F666B-0B0A-414B-93AE-AF40B5EBCABB}" srcOrd="1" destOrd="0" presId="urn:microsoft.com/office/officeart/2009/3/layout/HorizontalOrganizationChart"/>
    <dgm:cxn modelId="{5A016F6A-4281-498E-B751-D5D398BD276C}" type="presParOf" srcId="{3D6F666B-0B0A-414B-93AE-AF40B5EBCABB}" destId="{CB824BDC-3173-42F2-BA41-ECA8269C967A}" srcOrd="0" destOrd="0" presId="urn:microsoft.com/office/officeart/2009/3/layout/HorizontalOrganizationChart"/>
    <dgm:cxn modelId="{9D5AF324-82B2-4E7D-8708-C7EF3E58E502}" type="presParOf" srcId="{CB824BDC-3173-42F2-BA41-ECA8269C967A}" destId="{AE8940C8-DA71-4DBC-984A-5E196479C825}" srcOrd="0" destOrd="0" presId="urn:microsoft.com/office/officeart/2009/3/layout/HorizontalOrganizationChart"/>
    <dgm:cxn modelId="{C046B8FF-4EF2-4C75-8EAE-68966EF25974}" type="presParOf" srcId="{CB824BDC-3173-42F2-BA41-ECA8269C967A}" destId="{80FF554D-DF93-4BEC-B785-C26A3656299B}" srcOrd="1" destOrd="0" presId="urn:microsoft.com/office/officeart/2009/3/layout/HorizontalOrganizationChart"/>
    <dgm:cxn modelId="{FED060FF-E68D-41D5-8819-07A2ACC57AA0}" type="presParOf" srcId="{3D6F666B-0B0A-414B-93AE-AF40B5EBCABB}" destId="{980DD65A-7028-4129-9B94-41EA8369A9E4}" srcOrd="1" destOrd="0" presId="urn:microsoft.com/office/officeart/2009/3/layout/HorizontalOrganizationChart"/>
    <dgm:cxn modelId="{5EA26EA4-7858-4643-8BCC-01F098EA38E3}" type="presParOf" srcId="{3D6F666B-0B0A-414B-93AE-AF40B5EBCABB}" destId="{B981F681-15EB-4B23-8F93-BADBFE6F3068}" srcOrd="2" destOrd="0" presId="urn:microsoft.com/office/officeart/2009/3/layout/HorizontalOrganizationChart"/>
    <dgm:cxn modelId="{52A8E65A-BF8E-40BA-8F2A-C4D215784C01}" type="presParOf" srcId="{DEC9449B-C4A3-4BEF-97D8-5AC603A0854E}" destId="{3122E004-8525-48AF-B040-6E0A6126B9D6}" srcOrd="2" destOrd="0" presId="urn:microsoft.com/office/officeart/2009/3/layout/HorizontalOrganizationChart"/>
    <dgm:cxn modelId="{F332F049-7386-4B9C-88CB-E82598FFF7C2}" type="presParOf" srcId="{DEC9449B-C4A3-4BEF-97D8-5AC603A0854E}" destId="{D447CF28-C73F-49BD-B39E-04F9C15994FD}" srcOrd="3" destOrd="0" presId="urn:microsoft.com/office/officeart/2009/3/layout/HorizontalOrganizationChart"/>
    <dgm:cxn modelId="{04B45B04-2CA2-4255-8A18-C8354DA3F33F}" type="presParOf" srcId="{D447CF28-C73F-49BD-B39E-04F9C15994FD}" destId="{AACFB52A-1E21-4B19-91BD-A682195B4B22}" srcOrd="0" destOrd="0" presId="urn:microsoft.com/office/officeart/2009/3/layout/HorizontalOrganizationChart"/>
    <dgm:cxn modelId="{5B9E42FC-AFCE-4C54-8027-EF33B9FD91B7}" type="presParOf" srcId="{AACFB52A-1E21-4B19-91BD-A682195B4B22}" destId="{B85C1E2B-9457-44E0-BCBE-5F56FCFF2E85}" srcOrd="0" destOrd="0" presId="urn:microsoft.com/office/officeart/2009/3/layout/HorizontalOrganizationChart"/>
    <dgm:cxn modelId="{EE6E0FE9-F94F-4CBF-8A98-B9DFAD8890F4}" type="presParOf" srcId="{AACFB52A-1E21-4B19-91BD-A682195B4B22}" destId="{FA7F5249-CEB6-44AB-AAD5-A08AA7E2DF7A}" srcOrd="1" destOrd="0" presId="urn:microsoft.com/office/officeart/2009/3/layout/HorizontalOrganizationChart"/>
    <dgm:cxn modelId="{35C6C76A-C2AB-450D-BD1A-815D6AEA15EB}" type="presParOf" srcId="{D447CF28-C73F-49BD-B39E-04F9C15994FD}" destId="{77F9EC0D-265B-46F5-858F-2D516EBBCFC1}" srcOrd="1" destOrd="0" presId="urn:microsoft.com/office/officeart/2009/3/layout/HorizontalOrganizationChart"/>
    <dgm:cxn modelId="{40975EAD-CA82-4A7F-92AB-176B22212E40}" type="presParOf" srcId="{D447CF28-C73F-49BD-B39E-04F9C15994FD}" destId="{DA491B64-3B03-4137-A1F1-066167AAA68D}" srcOrd="2" destOrd="0" presId="urn:microsoft.com/office/officeart/2009/3/layout/HorizontalOrganizationChart"/>
    <dgm:cxn modelId="{DEA56C1A-F719-4D17-A435-77DE52D71E57}" type="presParOf" srcId="{DEC9449B-C4A3-4BEF-97D8-5AC603A0854E}" destId="{8362746C-3343-4E37-A733-0E93B668C6CE}" srcOrd="4" destOrd="0" presId="urn:microsoft.com/office/officeart/2009/3/layout/HorizontalOrganizationChart"/>
    <dgm:cxn modelId="{BE1076DC-9606-417E-8C93-147F7216B840}" type="presParOf" srcId="{DEC9449B-C4A3-4BEF-97D8-5AC603A0854E}" destId="{8ACD16C0-18A7-4C43-B8E3-2042FA9DB768}" srcOrd="5" destOrd="0" presId="urn:microsoft.com/office/officeart/2009/3/layout/HorizontalOrganizationChart"/>
    <dgm:cxn modelId="{FF37A09A-5E85-4C1F-9C5F-0AFBE2A7D058}" type="presParOf" srcId="{8ACD16C0-18A7-4C43-B8E3-2042FA9DB768}" destId="{E24763E1-B7B3-40E6-A4E1-365B9A5CCDA0}" srcOrd="0" destOrd="0" presId="urn:microsoft.com/office/officeart/2009/3/layout/HorizontalOrganizationChart"/>
    <dgm:cxn modelId="{C1B0A3D4-475B-4D9F-835B-EF356AE5B541}" type="presParOf" srcId="{E24763E1-B7B3-40E6-A4E1-365B9A5CCDA0}" destId="{CCC76F8E-5101-436B-B7A0-8C4418E94C0D}" srcOrd="0" destOrd="0" presId="urn:microsoft.com/office/officeart/2009/3/layout/HorizontalOrganizationChart"/>
    <dgm:cxn modelId="{799F62A9-5ECB-4502-98A3-7B0F36CFF5AE}" type="presParOf" srcId="{E24763E1-B7B3-40E6-A4E1-365B9A5CCDA0}" destId="{B23E2319-CB3C-46D5-8554-5D9C3F6CB4BB}" srcOrd="1" destOrd="0" presId="urn:microsoft.com/office/officeart/2009/3/layout/HorizontalOrganizationChart"/>
    <dgm:cxn modelId="{54BF663E-637D-4DE0-914C-94C60C4FEDC4}" type="presParOf" srcId="{8ACD16C0-18A7-4C43-B8E3-2042FA9DB768}" destId="{F0191471-6654-4133-8F52-3742BDFC6B9F}" srcOrd="1" destOrd="0" presId="urn:microsoft.com/office/officeart/2009/3/layout/HorizontalOrganizationChart"/>
    <dgm:cxn modelId="{340F4DB9-8B5E-40D5-8C69-475F1DE64936}" type="presParOf" srcId="{8ACD16C0-18A7-4C43-B8E3-2042FA9DB768}" destId="{24A053B5-413D-4AC7-B075-C62C287C1614}" srcOrd="2" destOrd="0" presId="urn:microsoft.com/office/officeart/2009/3/layout/HorizontalOrganizationChart"/>
    <dgm:cxn modelId="{F9AFF13F-836A-4F2C-A22F-8FFB5844AD2E}" type="presParOf" srcId="{DEC9449B-C4A3-4BEF-97D8-5AC603A0854E}" destId="{0D1F3F5C-5FFA-4085-8C0E-1A185C860D1D}" srcOrd="6" destOrd="0" presId="urn:microsoft.com/office/officeart/2009/3/layout/HorizontalOrganizationChart"/>
    <dgm:cxn modelId="{9B6A8CA2-FBF9-49BE-9E9C-6305E45E0B19}" type="presParOf" srcId="{DEC9449B-C4A3-4BEF-97D8-5AC603A0854E}" destId="{6C97464A-58F3-40F1-9DA7-6905085D9980}" srcOrd="7" destOrd="0" presId="urn:microsoft.com/office/officeart/2009/3/layout/HorizontalOrganizationChart"/>
    <dgm:cxn modelId="{5046E440-491C-4EED-86B3-331055C2BCE0}" type="presParOf" srcId="{6C97464A-58F3-40F1-9DA7-6905085D9980}" destId="{6E043C22-3BEF-45BC-A461-316575697827}" srcOrd="0" destOrd="0" presId="urn:microsoft.com/office/officeart/2009/3/layout/HorizontalOrganizationChart"/>
    <dgm:cxn modelId="{74347CDD-E2E5-4513-A084-701EA4558C5C}" type="presParOf" srcId="{6E043C22-3BEF-45BC-A461-316575697827}" destId="{5AABC5E0-FA85-414D-85A8-C8617D736C45}" srcOrd="0" destOrd="0" presId="urn:microsoft.com/office/officeart/2009/3/layout/HorizontalOrganizationChart"/>
    <dgm:cxn modelId="{839B4023-FA6B-461C-AF3C-0384B1EEEA49}" type="presParOf" srcId="{6E043C22-3BEF-45BC-A461-316575697827}" destId="{B864BF7D-F2B9-4DEB-9570-33BBCDE25DD2}" srcOrd="1" destOrd="0" presId="urn:microsoft.com/office/officeart/2009/3/layout/HorizontalOrganizationChart"/>
    <dgm:cxn modelId="{BA1C87C0-5587-4F71-9917-379EC61BF0EA}" type="presParOf" srcId="{6C97464A-58F3-40F1-9DA7-6905085D9980}" destId="{3C996883-B10A-4198-93B6-E25A13DAC098}" srcOrd="1" destOrd="0" presId="urn:microsoft.com/office/officeart/2009/3/layout/HorizontalOrganizationChart"/>
    <dgm:cxn modelId="{53FAB47F-4F39-4E28-A4C8-8692F2D27C6D}" type="presParOf" srcId="{6C97464A-58F3-40F1-9DA7-6905085D9980}" destId="{4E6627B6-4866-4488-92C6-1D06498AA6F2}" srcOrd="2" destOrd="0" presId="urn:microsoft.com/office/officeart/2009/3/layout/HorizontalOrganizationChart"/>
    <dgm:cxn modelId="{F6918F06-73F8-483A-AF03-D10D6D1254FC}" type="presParOf" srcId="{DEC9449B-C4A3-4BEF-97D8-5AC603A0854E}" destId="{1DD86CF1-A6DE-4238-A9B6-43088B81BACB}" srcOrd="8" destOrd="0" presId="urn:microsoft.com/office/officeart/2009/3/layout/HorizontalOrganizationChart"/>
    <dgm:cxn modelId="{0C99C8D8-A38D-4E9E-A277-F414496831A4}" type="presParOf" srcId="{DEC9449B-C4A3-4BEF-97D8-5AC603A0854E}" destId="{0D059B89-E33F-445C-AD06-065DADA32A3D}" srcOrd="9" destOrd="0" presId="urn:microsoft.com/office/officeart/2009/3/layout/HorizontalOrganizationChart"/>
    <dgm:cxn modelId="{EB95D3A0-9153-4210-9D3A-051563739E62}" type="presParOf" srcId="{0D059B89-E33F-445C-AD06-065DADA32A3D}" destId="{8109AB4E-7BAE-4ADE-BBC5-D002D705F6D1}" srcOrd="0" destOrd="0" presId="urn:microsoft.com/office/officeart/2009/3/layout/HorizontalOrganizationChart"/>
    <dgm:cxn modelId="{A21DF558-0CAB-4BC4-AF64-80D7B13D5303}" type="presParOf" srcId="{8109AB4E-7BAE-4ADE-BBC5-D002D705F6D1}" destId="{7856D2BE-4302-4777-8933-ADA16FD9CCFB}" srcOrd="0" destOrd="0" presId="urn:microsoft.com/office/officeart/2009/3/layout/HorizontalOrganizationChart"/>
    <dgm:cxn modelId="{C95C4295-093F-4A17-9739-568E883CCBD1}" type="presParOf" srcId="{8109AB4E-7BAE-4ADE-BBC5-D002D705F6D1}" destId="{B6A75326-ABB6-4422-BAE8-7360F3162AE5}" srcOrd="1" destOrd="0" presId="urn:microsoft.com/office/officeart/2009/3/layout/HorizontalOrganizationChart"/>
    <dgm:cxn modelId="{F15D51FC-2342-4167-A171-159CA78C14EC}" type="presParOf" srcId="{0D059B89-E33F-445C-AD06-065DADA32A3D}" destId="{139999D9-CC52-4451-94CD-57F23E6794F1}" srcOrd="1" destOrd="0" presId="urn:microsoft.com/office/officeart/2009/3/layout/HorizontalOrganizationChart"/>
    <dgm:cxn modelId="{11523607-575E-4398-926B-6D05BED97A5D}" type="presParOf" srcId="{0D059B89-E33F-445C-AD06-065DADA32A3D}" destId="{F640D225-3BD1-44CC-B72B-F8D161784937}" srcOrd="2" destOrd="0" presId="urn:microsoft.com/office/officeart/2009/3/layout/HorizontalOrganizationChart"/>
    <dgm:cxn modelId="{7A5F21BA-FA5B-48CD-AA98-CEE8B28114D4}" type="presParOf" srcId="{DEC9449B-C4A3-4BEF-97D8-5AC603A0854E}" destId="{F0023B9A-7DB6-4370-80FA-E1E7F8E0245E}" srcOrd="10" destOrd="0" presId="urn:microsoft.com/office/officeart/2009/3/layout/HorizontalOrganizationChart"/>
    <dgm:cxn modelId="{491BFDBA-F1A5-4E18-98C5-4475E0645BFB}" type="presParOf" srcId="{DEC9449B-C4A3-4BEF-97D8-5AC603A0854E}" destId="{6EA40035-BF86-4F7D-996C-9902D319F6A5}" srcOrd="11" destOrd="0" presId="urn:microsoft.com/office/officeart/2009/3/layout/HorizontalOrganizationChart"/>
    <dgm:cxn modelId="{1BD3B30A-D71E-42E9-9A99-13D9A18AE506}" type="presParOf" srcId="{6EA40035-BF86-4F7D-996C-9902D319F6A5}" destId="{150AABCF-2020-4590-85B7-1570DB448657}" srcOrd="0" destOrd="0" presId="urn:microsoft.com/office/officeart/2009/3/layout/HorizontalOrganizationChart"/>
    <dgm:cxn modelId="{C1D1B5A2-B4AC-487A-909E-F501E26A3E69}" type="presParOf" srcId="{150AABCF-2020-4590-85B7-1570DB448657}" destId="{8E79C9CD-C52D-47BE-B1B4-960A9C5C6949}" srcOrd="0" destOrd="0" presId="urn:microsoft.com/office/officeart/2009/3/layout/HorizontalOrganizationChart"/>
    <dgm:cxn modelId="{2684EE1E-9774-4840-9F69-8600EB9E3A26}" type="presParOf" srcId="{150AABCF-2020-4590-85B7-1570DB448657}" destId="{7FDED651-0AE5-45E6-8293-25DF9F654610}" srcOrd="1" destOrd="0" presId="urn:microsoft.com/office/officeart/2009/3/layout/HorizontalOrganizationChart"/>
    <dgm:cxn modelId="{5B8C923B-4557-4A56-A854-B6CF4905A00B}" type="presParOf" srcId="{6EA40035-BF86-4F7D-996C-9902D319F6A5}" destId="{27504129-7FAE-4AB0-AA31-0472F4783AB6}" srcOrd="1" destOrd="0" presId="urn:microsoft.com/office/officeart/2009/3/layout/HorizontalOrganizationChart"/>
    <dgm:cxn modelId="{1692E14E-8865-459B-B8CC-72D361471C80}" type="presParOf" srcId="{6EA40035-BF86-4F7D-996C-9902D319F6A5}" destId="{ADA6FFD2-DB02-4365-BCED-8FFADAADC7B2}" srcOrd="2" destOrd="0" presId="urn:microsoft.com/office/officeart/2009/3/layout/HorizontalOrganizationChart"/>
    <dgm:cxn modelId="{A94EBD5D-E42E-4C6E-97A1-7A6CDCAC05B7}" type="presParOf" srcId="{DEC9449B-C4A3-4BEF-97D8-5AC603A0854E}" destId="{8081614C-E4E6-469E-BEE1-6E73C2859E85}" srcOrd="12" destOrd="0" presId="urn:microsoft.com/office/officeart/2009/3/layout/HorizontalOrganizationChart"/>
    <dgm:cxn modelId="{D5CE1F64-123C-40E3-9229-2432E11718DB}" type="presParOf" srcId="{DEC9449B-C4A3-4BEF-97D8-5AC603A0854E}" destId="{3D113A7D-BCB8-4119-B188-9845D50CFF7C}" srcOrd="13" destOrd="0" presId="urn:microsoft.com/office/officeart/2009/3/layout/HorizontalOrganizationChart"/>
    <dgm:cxn modelId="{AD5865E8-822D-4412-991B-384FEC7343B5}" type="presParOf" srcId="{3D113A7D-BCB8-4119-B188-9845D50CFF7C}" destId="{66EF689C-5B78-4166-BEE5-00D1D631E3C2}" srcOrd="0" destOrd="0" presId="urn:microsoft.com/office/officeart/2009/3/layout/HorizontalOrganizationChart"/>
    <dgm:cxn modelId="{ACB4FC29-F3B3-490B-8BA9-5F2DA0B34579}" type="presParOf" srcId="{66EF689C-5B78-4166-BEE5-00D1D631E3C2}" destId="{187EA4FF-6648-4C55-943D-60C92E175A3D}" srcOrd="0" destOrd="0" presId="urn:microsoft.com/office/officeart/2009/3/layout/HorizontalOrganizationChart"/>
    <dgm:cxn modelId="{CDF15BA8-5CF6-454D-8AF6-62BC909075E1}" type="presParOf" srcId="{66EF689C-5B78-4166-BEE5-00D1D631E3C2}" destId="{9567A8DC-4722-4D6A-8247-D4750A8ED9D6}" srcOrd="1" destOrd="0" presId="urn:microsoft.com/office/officeart/2009/3/layout/HorizontalOrganizationChart"/>
    <dgm:cxn modelId="{A529715F-9BC6-42D5-BBD1-741D4C8AFF78}" type="presParOf" srcId="{3D113A7D-BCB8-4119-B188-9845D50CFF7C}" destId="{EDD64F26-8BE1-4A2A-9DF2-846D8FA2A26E}" srcOrd="1" destOrd="0" presId="urn:microsoft.com/office/officeart/2009/3/layout/HorizontalOrganizationChart"/>
    <dgm:cxn modelId="{27C179BB-88CF-40E0-89B7-0B3373A252C1}" type="presParOf" srcId="{3D113A7D-BCB8-4119-B188-9845D50CFF7C}" destId="{5108D65B-3799-49F9-9DD7-392362286308}" srcOrd="2" destOrd="0" presId="urn:microsoft.com/office/officeart/2009/3/layout/HorizontalOrganizationChart"/>
    <dgm:cxn modelId="{FCE189F0-FFF3-4CC6-A8B1-368908CC9366}" type="presParOf" srcId="{DEC9449B-C4A3-4BEF-97D8-5AC603A0854E}" destId="{58E905FB-7F11-42F0-91CB-A749E950D59F}" srcOrd="14" destOrd="0" presId="urn:microsoft.com/office/officeart/2009/3/layout/HorizontalOrganizationChart"/>
    <dgm:cxn modelId="{41310075-9A56-40EB-8160-0D1F0E7F393D}" type="presParOf" srcId="{DEC9449B-C4A3-4BEF-97D8-5AC603A0854E}" destId="{3B84C60E-A2AF-4862-9184-85CEDF5371DD}" srcOrd="15" destOrd="0" presId="urn:microsoft.com/office/officeart/2009/3/layout/HorizontalOrganizationChart"/>
    <dgm:cxn modelId="{8680BCB6-A3F2-4D73-A906-DBB110B8D608}" type="presParOf" srcId="{3B84C60E-A2AF-4862-9184-85CEDF5371DD}" destId="{93F0D85D-B595-4CE9-A9A1-4FFBE2B5E8BC}" srcOrd="0" destOrd="0" presId="urn:microsoft.com/office/officeart/2009/3/layout/HorizontalOrganizationChart"/>
    <dgm:cxn modelId="{48C2F202-2361-4D13-A0BF-E8D2CB27B3A4}" type="presParOf" srcId="{93F0D85D-B595-4CE9-A9A1-4FFBE2B5E8BC}" destId="{3CC29F65-241D-426D-84B0-B14029A8CEED}" srcOrd="0" destOrd="0" presId="urn:microsoft.com/office/officeart/2009/3/layout/HorizontalOrganizationChart"/>
    <dgm:cxn modelId="{6BEC93A6-F983-4A2B-A96E-B201BCEE251C}" type="presParOf" srcId="{93F0D85D-B595-4CE9-A9A1-4FFBE2B5E8BC}" destId="{45660F9B-46D0-466C-A126-CB927C27AFCD}" srcOrd="1" destOrd="0" presId="urn:microsoft.com/office/officeart/2009/3/layout/HorizontalOrganizationChart"/>
    <dgm:cxn modelId="{479741A0-0018-4C11-986D-825037B77957}" type="presParOf" srcId="{3B84C60E-A2AF-4862-9184-85CEDF5371DD}" destId="{229BDE68-6130-429A-9572-6FADCD73F524}" srcOrd="1" destOrd="0" presId="urn:microsoft.com/office/officeart/2009/3/layout/HorizontalOrganizationChart"/>
    <dgm:cxn modelId="{681959D8-DC7A-4513-BF80-45B3050264CE}" type="presParOf" srcId="{3B84C60E-A2AF-4862-9184-85CEDF5371DD}" destId="{10FEFDAC-E081-4892-8951-6A57B45CDC74}" srcOrd="2" destOrd="0" presId="urn:microsoft.com/office/officeart/2009/3/layout/HorizontalOrganizationChart"/>
    <dgm:cxn modelId="{BD98A93E-DB57-4E4B-A962-72B5AFF7E225}" type="presParOf" srcId="{DEC9449B-C4A3-4BEF-97D8-5AC603A0854E}" destId="{83B595A7-4E27-46A5-86B2-4AD47E61F026}" srcOrd="16" destOrd="0" presId="urn:microsoft.com/office/officeart/2009/3/layout/HorizontalOrganizationChart"/>
    <dgm:cxn modelId="{D8399E9E-1620-44AA-843A-AE16366EFA47}" type="presParOf" srcId="{DEC9449B-C4A3-4BEF-97D8-5AC603A0854E}" destId="{77FE339A-15EA-4017-88E9-12EA06FB9BDB}" srcOrd="17" destOrd="0" presId="urn:microsoft.com/office/officeart/2009/3/layout/HorizontalOrganizationChart"/>
    <dgm:cxn modelId="{3C011380-FFD5-49EF-9FC2-E03D39510B00}" type="presParOf" srcId="{77FE339A-15EA-4017-88E9-12EA06FB9BDB}" destId="{FF512AAE-36F9-4C53-8C8E-7E45251A138B}" srcOrd="0" destOrd="0" presId="urn:microsoft.com/office/officeart/2009/3/layout/HorizontalOrganizationChart"/>
    <dgm:cxn modelId="{CB2ED527-3B0D-4068-90B6-5499EC48D5AA}" type="presParOf" srcId="{FF512AAE-36F9-4C53-8C8E-7E45251A138B}" destId="{1953BCFA-210D-4A09-A920-829595D1D5C7}" srcOrd="0" destOrd="0" presId="urn:microsoft.com/office/officeart/2009/3/layout/HorizontalOrganizationChart"/>
    <dgm:cxn modelId="{7D0A55AC-D468-415A-9BDA-4A358708A48D}" type="presParOf" srcId="{FF512AAE-36F9-4C53-8C8E-7E45251A138B}" destId="{0CABA240-2502-47E5-8CC0-82B6B75EE85E}" srcOrd="1" destOrd="0" presId="urn:microsoft.com/office/officeart/2009/3/layout/HorizontalOrganizationChart"/>
    <dgm:cxn modelId="{1B963863-CEDD-4F4A-8723-453C2508B7B4}" type="presParOf" srcId="{77FE339A-15EA-4017-88E9-12EA06FB9BDB}" destId="{8A775A0E-3AD9-4385-83A4-4F00A3D7450E}" srcOrd="1" destOrd="0" presId="urn:microsoft.com/office/officeart/2009/3/layout/HorizontalOrganizationChart"/>
    <dgm:cxn modelId="{CDF19926-AC1F-4957-9D86-6226DA4B9771}" type="presParOf" srcId="{77FE339A-15EA-4017-88E9-12EA06FB9BDB}" destId="{BE03A243-798F-4355-A534-250220B7726C}" srcOrd="2" destOrd="0" presId="urn:microsoft.com/office/officeart/2009/3/layout/HorizontalOrganizationChart"/>
    <dgm:cxn modelId="{1C44415F-9637-4FB8-8015-4D7C2EA76B69}" type="presParOf" srcId="{DEC9449B-C4A3-4BEF-97D8-5AC603A0854E}" destId="{17BFDBD1-59DD-4CFE-9ED8-A5130D3B625A}" srcOrd="18" destOrd="0" presId="urn:microsoft.com/office/officeart/2009/3/layout/HorizontalOrganizationChart"/>
    <dgm:cxn modelId="{70104426-A314-478F-B922-1CAEC85E0B7F}" type="presParOf" srcId="{DEC9449B-C4A3-4BEF-97D8-5AC603A0854E}" destId="{1302203D-0376-4701-BC24-F9BB544AFF2D}" srcOrd="19" destOrd="0" presId="urn:microsoft.com/office/officeart/2009/3/layout/HorizontalOrganizationChart"/>
    <dgm:cxn modelId="{8FC02197-F41A-4148-8AB9-35413AF312FB}" type="presParOf" srcId="{1302203D-0376-4701-BC24-F9BB544AFF2D}" destId="{236CC6F5-6354-4844-9DFA-500733EE4D39}" srcOrd="0" destOrd="0" presId="urn:microsoft.com/office/officeart/2009/3/layout/HorizontalOrganizationChart"/>
    <dgm:cxn modelId="{F8941CE1-5E80-471C-AB40-A91F65CAC183}" type="presParOf" srcId="{236CC6F5-6354-4844-9DFA-500733EE4D39}" destId="{BE4C5272-4FD5-4415-8AF3-5B76B57CC5FB}" srcOrd="0" destOrd="0" presId="urn:microsoft.com/office/officeart/2009/3/layout/HorizontalOrganizationChart"/>
    <dgm:cxn modelId="{D174DB76-28B1-4028-BDB6-428B0240EA85}" type="presParOf" srcId="{236CC6F5-6354-4844-9DFA-500733EE4D39}" destId="{B084AD07-FEDF-4935-A255-29B194FD84AF}" srcOrd="1" destOrd="0" presId="urn:microsoft.com/office/officeart/2009/3/layout/HorizontalOrganizationChart"/>
    <dgm:cxn modelId="{FE03E489-BAC4-465A-8B62-A2F27756F235}" type="presParOf" srcId="{1302203D-0376-4701-BC24-F9BB544AFF2D}" destId="{9686EFB3-65D0-4949-9E3A-D3E74B5AFCE4}" srcOrd="1" destOrd="0" presId="urn:microsoft.com/office/officeart/2009/3/layout/HorizontalOrganizationChart"/>
    <dgm:cxn modelId="{A787F46D-EDCB-40AB-8AC4-D1093F6097E4}" type="presParOf" srcId="{1302203D-0376-4701-BC24-F9BB544AFF2D}" destId="{7A0B507F-DF79-46F1-BF69-6A26E0747145}" srcOrd="2" destOrd="0" presId="urn:microsoft.com/office/officeart/2009/3/layout/HorizontalOrganizationChart"/>
    <dgm:cxn modelId="{1DFEC273-9775-4809-BB67-3CB235856706}" type="presParOf" srcId="{DEC9449B-C4A3-4BEF-97D8-5AC603A0854E}" destId="{5AF52518-A89A-4D33-B838-0B40FCD2BF10}" srcOrd="20" destOrd="0" presId="urn:microsoft.com/office/officeart/2009/3/layout/HorizontalOrganizationChart"/>
    <dgm:cxn modelId="{837782F9-5231-42EC-9820-CCE4479462D9}" type="presParOf" srcId="{DEC9449B-C4A3-4BEF-97D8-5AC603A0854E}" destId="{3784DC92-2132-47EA-90B7-8E6B49F85C65}" srcOrd="21" destOrd="0" presId="urn:microsoft.com/office/officeart/2009/3/layout/HorizontalOrganizationChart"/>
    <dgm:cxn modelId="{6DEF538E-6095-4F3D-9FB4-7658D7315616}" type="presParOf" srcId="{3784DC92-2132-47EA-90B7-8E6B49F85C65}" destId="{6A9CEE41-4658-4561-B0E6-E9D8C410A6A1}" srcOrd="0" destOrd="0" presId="urn:microsoft.com/office/officeart/2009/3/layout/HorizontalOrganizationChart"/>
    <dgm:cxn modelId="{9E00F336-5EC1-4AB3-B7D1-A4BD1F393B35}" type="presParOf" srcId="{6A9CEE41-4658-4561-B0E6-E9D8C410A6A1}" destId="{3114991B-420A-4785-ABBD-5CB33B81BE4F}" srcOrd="0" destOrd="0" presId="urn:microsoft.com/office/officeart/2009/3/layout/HorizontalOrganizationChart"/>
    <dgm:cxn modelId="{9B934089-8C08-4FFF-AF86-E32883F9E8C1}" type="presParOf" srcId="{6A9CEE41-4658-4561-B0E6-E9D8C410A6A1}" destId="{C4AD7437-B7EE-40C2-8B4C-F7E4B1B62ACF}" srcOrd="1" destOrd="0" presId="urn:microsoft.com/office/officeart/2009/3/layout/HorizontalOrganizationChart"/>
    <dgm:cxn modelId="{4ED2FBBC-634A-4C7A-BCCD-512B2CAA9B4E}" type="presParOf" srcId="{3784DC92-2132-47EA-90B7-8E6B49F85C65}" destId="{2F8E4DEE-FD4C-433D-95EC-0163BC4F172F}" srcOrd="1" destOrd="0" presId="urn:microsoft.com/office/officeart/2009/3/layout/HorizontalOrganizationChart"/>
    <dgm:cxn modelId="{A429CE6D-D001-467C-AD3F-40985219F341}" type="presParOf" srcId="{3784DC92-2132-47EA-90B7-8E6B49F85C65}" destId="{8D5DC91E-EB51-418D-9B03-25459B7C68D4}" srcOrd="2" destOrd="0" presId="urn:microsoft.com/office/officeart/2009/3/layout/HorizontalOrganizationChart"/>
    <dgm:cxn modelId="{780412F4-F12A-4E65-8140-D3AFBE7FAEDC}" type="presParOf" srcId="{DEC9449B-C4A3-4BEF-97D8-5AC603A0854E}" destId="{7DB3587D-2324-4B4F-8F45-30C207A56B6E}" srcOrd="22" destOrd="0" presId="urn:microsoft.com/office/officeart/2009/3/layout/HorizontalOrganizationChart"/>
    <dgm:cxn modelId="{D6F797E7-77CC-41DF-A38E-B37605DA8BA6}" type="presParOf" srcId="{DEC9449B-C4A3-4BEF-97D8-5AC603A0854E}" destId="{AD40B51C-94F6-4AB6-B329-BFE623BC4667}" srcOrd="23" destOrd="0" presId="urn:microsoft.com/office/officeart/2009/3/layout/HorizontalOrganizationChart"/>
    <dgm:cxn modelId="{DF0316D5-54CD-4242-A445-9AFFBF7EC7E8}" type="presParOf" srcId="{AD40B51C-94F6-4AB6-B329-BFE623BC4667}" destId="{1BDA1CA0-CCBF-4626-9659-857147F9FAC3}" srcOrd="0" destOrd="0" presId="urn:microsoft.com/office/officeart/2009/3/layout/HorizontalOrganizationChart"/>
    <dgm:cxn modelId="{4D9FF53E-AA4C-4729-A499-FA9C7A06C5FD}" type="presParOf" srcId="{1BDA1CA0-CCBF-4626-9659-857147F9FAC3}" destId="{0019AB8E-A64E-437D-9890-6BB53A5FB33A}" srcOrd="0" destOrd="0" presId="urn:microsoft.com/office/officeart/2009/3/layout/HorizontalOrganizationChart"/>
    <dgm:cxn modelId="{1101397D-757A-41EE-AB69-44624A9C43B5}" type="presParOf" srcId="{1BDA1CA0-CCBF-4626-9659-857147F9FAC3}" destId="{CDAACB11-7785-4295-9592-648921381E77}" srcOrd="1" destOrd="0" presId="urn:microsoft.com/office/officeart/2009/3/layout/HorizontalOrganizationChart"/>
    <dgm:cxn modelId="{B38D4D08-4650-469E-AA1B-49DF3715F145}" type="presParOf" srcId="{AD40B51C-94F6-4AB6-B329-BFE623BC4667}" destId="{02A36FF3-C3D7-4EB5-96E6-B3CC1B49A82E}" srcOrd="1" destOrd="0" presId="urn:microsoft.com/office/officeart/2009/3/layout/HorizontalOrganizationChart"/>
    <dgm:cxn modelId="{C0CBE84B-548F-41A3-B283-19BEBAACCD6C}" type="presParOf" srcId="{AD40B51C-94F6-4AB6-B329-BFE623BC4667}" destId="{8C6BBCC7-368D-44FA-ABBF-9131BDB7D676}" srcOrd="2" destOrd="0" presId="urn:microsoft.com/office/officeart/2009/3/layout/HorizontalOrganizationChart"/>
    <dgm:cxn modelId="{D1BF2328-E823-4741-AD02-61129DF75CDC}" type="presParOf" srcId="{DEC9449B-C4A3-4BEF-97D8-5AC603A0854E}" destId="{C888EC8E-1A8E-4121-87DF-A500F6B0501C}" srcOrd="24" destOrd="0" presId="urn:microsoft.com/office/officeart/2009/3/layout/HorizontalOrganizationChart"/>
    <dgm:cxn modelId="{BFD37B3F-318F-490B-9884-43F882A15C24}" type="presParOf" srcId="{DEC9449B-C4A3-4BEF-97D8-5AC603A0854E}" destId="{BE2CA069-97DD-4F9A-9088-EAD5573387DB}" srcOrd="25" destOrd="0" presId="urn:microsoft.com/office/officeart/2009/3/layout/HorizontalOrganizationChart"/>
    <dgm:cxn modelId="{D4E99460-2A8E-4925-ADA4-E5126D93B459}" type="presParOf" srcId="{BE2CA069-97DD-4F9A-9088-EAD5573387DB}" destId="{C8C2032A-C845-453A-B6DA-E7E729B08896}" srcOrd="0" destOrd="0" presId="urn:microsoft.com/office/officeart/2009/3/layout/HorizontalOrganizationChart"/>
    <dgm:cxn modelId="{E6C2E1A3-540F-4715-B523-90D4771A1D86}" type="presParOf" srcId="{C8C2032A-C845-453A-B6DA-E7E729B08896}" destId="{F73CC906-0845-48C8-8B8F-090E96A60656}" srcOrd="0" destOrd="0" presId="urn:microsoft.com/office/officeart/2009/3/layout/HorizontalOrganizationChart"/>
    <dgm:cxn modelId="{027A32FE-DAD7-45F7-B021-599806551239}" type="presParOf" srcId="{C8C2032A-C845-453A-B6DA-E7E729B08896}" destId="{1850725D-AEE5-4906-AA1E-69F5BC1C42B6}" srcOrd="1" destOrd="0" presId="urn:microsoft.com/office/officeart/2009/3/layout/HorizontalOrganizationChart"/>
    <dgm:cxn modelId="{70C82E83-5D8C-4960-97F5-080322CC1E5F}" type="presParOf" srcId="{BE2CA069-97DD-4F9A-9088-EAD5573387DB}" destId="{0BD502FC-EB94-40C7-A579-38AA70647A98}" srcOrd="1" destOrd="0" presId="urn:microsoft.com/office/officeart/2009/3/layout/HorizontalOrganizationChart"/>
    <dgm:cxn modelId="{F9CC1081-C617-4866-A7C6-F072E0035911}" type="presParOf" srcId="{BE2CA069-97DD-4F9A-9088-EAD5573387DB}" destId="{1A0D029B-A6C5-4C3F-9A6B-5AAE28536994}" srcOrd="2" destOrd="0" presId="urn:microsoft.com/office/officeart/2009/3/layout/HorizontalOrganizationChart"/>
    <dgm:cxn modelId="{5864E2F7-0622-4599-877A-D3272F183699}" type="presParOf" srcId="{DEC9449B-C4A3-4BEF-97D8-5AC603A0854E}" destId="{9DE43C64-8C64-4179-8465-566FF3C71759}" srcOrd="26" destOrd="0" presId="urn:microsoft.com/office/officeart/2009/3/layout/HorizontalOrganizationChart"/>
    <dgm:cxn modelId="{A4845C8D-EF56-472E-8863-67D3337A890C}" type="presParOf" srcId="{DEC9449B-C4A3-4BEF-97D8-5AC603A0854E}" destId="{66C92A10-1584-4B6B-A271-C64E3A06DE1F}" srcOrd="27" destOrd="0" presId="urn:microsoft.com/office/officeart/2009/3/layout/HorizontalOrganizationChart"/>
    <dgm:cxn modelId="{F0CF30C7-63FA-41EC-AEBE-5227EC9290F1}" type="presParOf" srcId="{66C92A10-1584-4B6B-A271-C64E3A06DE1F}" destId="{BA75D9A8-276F-4EA2-B1C8-A8EBE3DAABE8}" srcOrd="0" destOrd="0" presId="urn:microsoft.com/office/officeart/2009/3/layout/HorizontalOrganizationChart"/>
    <dgm:cxn modelId="{85825120-5419-490F-8AE3-8E3403445783}" type="presParOf" srcId="{BA75D9A8-276F-4EA2-B1C8-A8EBE3DAABE8}" destId="{596E066C-032D-4E00-9FE9-2B75249D0D86}" srcOrd="0" destOrd="0" presId="urn:microsoft.com/office/officeart/2009/3/layout/HorizontalOrganizationChart"/>
    <dgm:cxn modelId="{7E3B83E5-D9F3-4A29-B3D8-7B59A57668A4}" type="presParOf" srcId="{BA75D9A8-276F-4EA2-B1C8-A8EBE3DAABE8}" destId="{C39D3696-5778-485C-85E4-382E0282C508}" srcOrd="1" destOrd="0" presId="urn:microsoft.com/office/officeart/2009/3/layout/HorizontalOrganizationChart"/>
    <dgm:cxn modelId="{D458FB3F-2787-4879-8427-1E66F687CBAB}" type="presParOf" srcId="{66C92A10-1584-4B6B-A271-C64E3A06DE1F}" destId="{380FE146-221D-4193-BEF6-9569EAD23BE9}" srcOrd="1" destOrd="0" presId="urn:microsoft.com/office/officeart/2009/3/layout/HorizontalOrganizationChart"/>
    <dgm:cxn modelId="{381E3989-60D0-4C31-9CB4-80DE1AC70100}" type="presParOf" srcId="{66C92A10-1584-4B6B-A271-C64E3A06DE1F}" destId="{8D7E6671-B05E-4228-ADC7-49528B7A7348}" srcOrd="2" destOrd="0" presId="urn:microsoft.com/office/officeart/2009/3/layout/HorizontalOrganizationChart"/>
    <dgm:cxn modelId="{7097791D-9A38-4950-A6FA-240F082BD003}" type="presParOf" srcId="{977C9DED-CB9C-4D35-B264-7CA9A7F64E46}" destId="{BBF45976-6F59-45BE-AAE6-5E6C7ED68EAD}" srcOrd="2" destOrd="0" presId="urn:microsoft.com/office/officeart/2009/3/layout/HorizontalOrganizationChart"/>
    <dgm:cxn modelId="{BF5D51EA-A20E-4536-B65A-382CB50F36A3}" type="presParOf" srcId="{BBF45976-6F59-45BE-AAE6-5E6C7ED68EAD}" destId="{B8BBDA70-E062-4FEF-8986-86066DA59EDB}" srcOrd="0" destOrd="0" presId="urn:microsoft.com/office/officeart/2009/3/layout/HorizontalOrganizationChart"/>
    <dgm:cxn modelId="{11100E00-5A83-4DD3-97BD-E4B8687B52E7}" type="presParOf" srcId="{BBF45976-6F59-45BE-AAE6-5E6C7ED68EAD}" destId="{AD270FBE-029A-464E-856D-2AD65A6C8781}" srcOrd="1" destOrd="0" presId="urn:microsoft.com/office/officeart/2009/3/layout/HorizontalOrganizationChart"/>
    <dgm:cxn modelId="{BB92E34A-DB19-4C4B-8030-49541AAC7060}" type="presParOf" srcId="{AD270FBE-029A-464E-856D-2AD65A6C8781}" destId="{F3C75FE8-F773-47E2-93D0-7BDF7825BE4B}" srcOrd="0" destOrd="0" presId="urn:microsoft.com/office/officeart/2009/3/layout/HorizontalOrganizationChart"/>
    <dgm:cxn modelId="{E4374612-65CE-495A-A3B0-46F27AC87B21}" type="presParOf" srcId="{F3C75FE8-F773-47E2-93D0-7BDF7825BE4B}" destId="{194B940C-0038-4483-B736-02A0414A1665}" srcOrd="0" destOrd="0" presId="urn:microsoft.com/office/officeart/2009/3/layout/HorizontalOrganizationChart"/>
    <dgm:cxn modelId="{65713699-674B-4638-B784-66D5C22DC28F}" type="presParOf" srcId="{F3C75FE8-F773-47E2-93D0-7BDF7825BE4B}" destId="{47D324FC-2816-4198-8D1B-28339B7D5A15}" srcOrd="1" destOrd="0" presId="urn:microsoft.com/office/officeart/2009/3/layout/HorizontalOrganizationChart"/>
    <dgm:cxn modelId="{7A95D2A3-4D6C-40DE-A934-06A40D2AE536}" type="presParOf" srcId="{AD270FBE-029A-464E-856D-2AD65A6C8781}" destId="{34C19EED-67F8-4941-AC81-F488918CECCE}" srcOrd="1" destOrd="0" presId="urn:microsoft.com/office/officeart/2009/3/layout/HorizontalOrganizationChart"/>
    <dgm:cxn modelId="{A1795764-A5B3-4A0E-8756-A06ED32083A9}" type="presParOf" srcId="{AD270FBE-029A-464E-856D-2AD65A6C8781}" destId="{39AA45E2-21A3-48B2-B87D-4540FE5C2519}" srcOrd="2" destOrd="0" presId="urn:microsoft.com/office/officeart/2009/3/layout/HorizontalOrganizationChart"/>
    <dgm:cxn modelId="{044E7595-EBF5-4ED2-933F-FC7F9164B459}" type="presParOf" srcId="{BBF45976-6F59-45BE-AAE6-5E6C7ED68EAD}" destId="{D3721EBB-4C78-4840-A5EB-085F22B8B3F3}" srcOrd="2" destOrd="0" presId="urn:microsoft.com/office/officeart/2009/3/layout/HorizontalOrganizationChart"/>
    <dgm:cxn modelId="{735FA3F2-1025-4C91-9878-8F892F5D3791}" type="presParOf" srcId="{BBF45976-6F59-45BE-AAE6-5E6C7ED68EAD}" destId="{D6EE4B95-287E-4C05-957C-CB85AFFFDAB2}" srcOrd="3" destOrd="0" presId="urn:microsoft.com/office/officeart/2009/3/layout/HorizontalOrganizationChart"/>
    <dgm:cxn modelId="{20E6A9B8-36C6-4090-B6F2-D2EC4801DC40}" type="presParOf" srcId="{D6EE4B95-287E-4C05-957C-CB85AFFFDAB2}" destId="{C16B8B5A-86DF-4BBC-9270-B5583C75F2AE}" srcOrd="0" destOrd="0" presId="urn:microsoft.com/office/officeart/2009/3/layout/HorizontalOrganizationChart"/>
    <dgm:cxn modelId="{6BC0CC27-A110-49E7-84A4-ACA444CF0504}" type="presParOf" srcId="{C16B8B5A-86DF-4BBC-9270-B5583C75F2AE}" destId="{27378492-1D44-4F6E-82F0-B78141BD4242}" srcOrd="0" destOrd="0" presId="urn:microsoft.com/office/officeart/2009/3/layout/HorizontalOrganizationChart"/>
    <dgm:cxn modelId="{73EAA339-E3E0-4D61-A842-94D430300EDE}" type="presParOf" srcId="{C16B8B5A-86DF-4BBC-9270-B5583C75F2AE}" destId="{B051646A-316D-4B39-B391-273D1BBB2623}" srcOrd="1" destOrd="0" presId="urn:microsoft.com/office/officeart/2009/3/layout/HorizontalOrganizationChart"/>
    <dgm:cxn modelId="{A2672F3A-97FD-4A49-83B3-556673115A3E}" type="presParOf" srcId="{D6EE4B95-287E-4C05-957C-CB85AFFFDAB2}" destId="{171F6938-FC11-4F25-AF95-62BFFE64E6AD}" srcOrd="1" destOrd="0" presId="urn:microsoft.com/office/officeart/2009/3/layout/HorizontalOrganizationChart"/>
    <dgm:cxn modelId="{1D2F1AD0-4DC2-4AF5-BDF3-65292F7CBC61}" type="presParOf" srcId="{D6EE4B95-287E-4C05-957C-CB85AFFFDAB2}" destId="{1AED2201-8DEF-44DF-B6B0-0D1AE2D77FD8}" srcOrd="2" destOrd="0" presId="urn:microsoft.com/office/officeart/2009/3/layout/HorizontalOrganizationChart"/>
    <dgm:cxn modelId="{BA86AEBB-5680-4932-9829-381CFFE611C9}" type="presParOf" srcId="{BBF45976-6F59-45BE-AAE6-5E6C7ED68EAD}" destId="{5B320E38-16CC-4C00-B60F-A8B33CF9BC4B}" srcOrd="4" destOrd="0" presId="urn:microsoft.com/office/officeart/2009/3/layout/HorizontalOrganizationChart"/>
    <dgm:cxn modelId="{C9E0190C-9C76-452C-B6B2-6766B2D88E40}" type="presParOf" srcId="{BBF45976-6F59-45BE-AAE6-5E6C7ED68EAD}" destId="{7767176F-2999-421B-97C8-9879EAC9C4CD}" srcOrd="5" destOrd="0" presId="urn:microsoft.com/office/officeart/2009/3/layout/HorizontalOrganizationChart"/>
    <dgm:cxn modelId="{BA4D246D-ABCD-46EB-A0EE-4726AA514C99}" type="presParOf" srcId="{7767176F-2999-421B-97C8-9879EAC9C4CD}" destId="{02D42927-6BEF-4BC4-AA0E-E7E1C8F630AE}" srcOrd="0" destOrd="0" presId="urn:microsoft.com/office/officeart/2009/3/layout/HorizontalOrganizationChart"/>
    <dgm:cxn modelId="{B295037A-5425-416E-9B08-CEDF78F166EF}" type="presParOf" srcId="{02D42927-6BEF-4BC4-AA0E-E7E1C8F630AE}" destId="{671D7A3D-337B-4440-BA5E-20BBDBAD55F6}" srcOrd="0" destOrd="0" presId="urn:microsoft.com/office/officeart/2009/3/layout/HorizontalOrganizationChart"/>
    <dgm:cxn modelId="{5770A9A6-E40F-4D43-B3DC-54C1F8E25275}" type="presParOf" srcId="{02D42927-6BEF-4BC4-AA0E-E7E1C8F630AE}" destId="{C698E6D5-AA2B-407C-B92F-CE1E17771FDF}" srcOrd="1" destOrd="0" presId="urn:microsoft.com/office/officeart/2009/3/layout/HorizontalOrganizationChart"/>
    <dgm:cxn modelId="{222F9E87-FE89-4F9C-B9A0-1D6FA88F64C4}" type="presParOf" srcId="{7767176F-2999-421B-97C8-9879EAC9C4CD}" destId="{6D5646A9-9E73-4D8D-AD35-EAC6229D1319}" srcOrd="1" destOrd="0" presId="urn:microsoft.com/office/officeart/2009/3/layout/HorizontalOrganizationChart"/>
    <dgm:cxn modelId="{3E40CF6D-F56A-4765-9D11-C44E458D0FEE}" type="presParOf" srcId="{7767176F-2999-421B-97C8-9879EAC9C4CD}" destId="{460A845D-C47B-4408-AA8B-9C5E9C5D76CC}" srcOrd="2" destOrd="0" presId="urn:microsoft.com/office/officeart/2009/3/layout/HorizontalOrganizationChart"/>
    <dgm:cxn modelId="{BCDA7CE4-4B07-47DA-95C8-26FDD62B079A}" type="presParOf" srcId="{BBF45976-6F59-45BE-AAE6-5E6C7ED68EAD}" destId="{0AC49F7E-2ABB-4985-8391-F3495C4AEAE1}" srcOrd="6" destOrd="0" presId="urn:microsoft.com/office/officeart/2009/3/layout/HorizontalOrganizationChart"/>
    <dgm:cxn modelId="{9ABA2B71-8326-43F6-8B68-6D3E53661339}" type="presParOf" srcId="{BBF45976-6F59-45BE-AAE6-5E6C7ED68EAD}" destId="{DCA1753D-7B65-4070-8F5C-6D2A1A83596C}" srcOrd="7" destOrd="0" presId="urn:microsoft.com/office/officeart/2009/3/layout/HorizontalOrganizationChart"/>
    <dgm:cxn modelId="{1458BD78-718F-40E5-9C84-CCCF3ACD8FC4}" type="presParOf" srcId="{DCA1753D-7B65-4070-8F5C-6D2A1A83596C}" destId="{6C23670C-8915-4EE5-BFB9-B80AC6BBAEA7}" srcOrd="0" destOrd="0" presId="urn:microsoft.com/office/officeart/2009/3/layout/HorizontalOrganizationChart"/>
    <dgm:cxn modelId="{FD2A06C0-1AAA-4B44-A2CA-EC280C500C59}" type="presParOf" srcId="{6C23670C-8915-4EE5-BFB9-B80AC6BBAEA7}" destId="{07116DCA-B61B-43B8-8F83-58FEE4969E23}" srcOrd="0" destOrd="0" presId="urn:microsoft.com/office/officeart/2009/3/layout/HorizontalOrganizationChart"/>
    <dgm:cxn modelId="{69FD5BA5-6DFE-4B0D-AAFB-04F25ABC6807}" type="presParOf" srcId="{6C23670C-8915-4EE5-BFB9-B80AC6BBAEA7}" destId="{E0BD2404-EAB1-4F35-88F5-19D4315F943B}" srcOrd="1" destOrd="0" presId="urn:microsoft.com/office/officeart/2009/3/layout/HorizontalOrganizationChart"/>
    <dgm:cxn modelId="{D513ED5E-F7CB-4E53-AB33-6C7D4EFD8BA7}" type="presParOf" srcId="{DCA1753D-7B65-4070-8F5C-6D2A1A83596C}" destId="{E49EC50C-3640-4A2F-8634-93318A14DE4A}" srcOrd="1" destOrd="0" presId="urn:microsoft.com/office/officeart/2009/3/layout/HorizontalOrganizationChart"/>
    <dgm:cxn modelId="{8CF0CB60-FEF9-46BF-AD3E-9E40F76C4034}" type="presParOf" srcId="{DCA1753D-7B65-4070-8F5C-6D2A1A83596C}" destId="{8A6C4E6F-7BF3-4986-A83B-304F3C44FA8D}" srcOrd="2" destOrd="0" presId="urn:microsoft.com/office/officeart/2009/3/layout/HorizontalOrganizationChar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3D1AA54-164A-4AE7-ABDE-AA3AD0479A36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3_2" csCatId="accent3" phldr="0"/>
      <dgm:spPr/>
      <dgm:t>
        <a:bodyPr/>
        <a:lstStyle/>
        <a:p>
          <a:endParaRPr lang="en-US"/>
        </a:p>
      </dgm:t>
    </dgm:pt>
    <dgm:pt modelId="{A89E4F67-89EE-4CC9-BACB-D0C5611D5C45}">
      <dgm:prSet phldrT="[Text]" phldr="1"/>
      <dgm:spPr/>
      <dgm:t>
        <a:bodyPr/>
        <a:lstStyle/>
        <a:p>
          <a:endParaRPr lang="en-US" dirty="0"/>
        </a:p>
      </dgm:t>
    </dgm:pt>
    <dgm:pt modelId="{E38CDA1C-3A1B-4B22-907F-B45DDB2AEC91}" type="parTrans" cxnId="{ED539A29-A317-49A2-87EB-E3DA0F2BCC0C}">
      <dgm:prSet/>
      <dgm:spPr/>
      <dgm:t>
        <a:bodyPr/>
        <a:lstStyle/>
        <a:p>
          <a:endParaRPr lang="en-US"/>
        </a:p>
      </dgm:t>
    </dgm:pt>
    <dgm:pt modelId="{5D3C8D1F-C0B0-4AF3-B7A7-B2AD379770DD}" type="sibTrans" cxnId="{ED539A29-A317-49A2-87EB-E3DA0F2BCC0C}">
      <dgm:prSet/>
      <dgm:spPr/>
      <dgm:t>
        <a:bodyPr/>
        <a:lstStyle/>
        <a:p>
          <a:endParaRPr lang="en-US"/>
        </a:p>
      </dgm:t>
    </dgm:pt>
    <dgm:pt modelId="{AD2DF0DE-B60C-437E-875C-F4FB96D3D99A}">
      <dgm:prSet phldrT="[Text]" phldr="1"/>
      <dgm:spPr/>
      <dgm:t>
        <a:bodyPr/>
        <a:lstStyle/>
        <a:p>
          <a:endParaRPr lang="en-US"/>
        </a:p>
      </dgm:t>
    </dgm:pt>
    <dgm:pt modelId="{6E5FA85E-965C-421C-8CC8-9961E79A6C0A}" type="parTrans" cxnId="{85CD09B1-6899-45C7-9237-DA76369A5479}">
      <dgm:prSet/>
      <dgm:spPr/>
      <dgm:t>
        <a:bodyPr/>
        <a:lstStyle/>
        <a:p>
          <a:endParaRPr lang="en-US"/>
        </a:p>
      </dgm:t>
    </dgm:pt>
    <dgm:pt modelId="{9C019AE3-5424-4C5F-BD6C-1B7CE45AF418}" type="sibTrans" cxnId="{85CD09B1-6899-45C7-9237-DA76369A5479}">
      <dgm:prSet/>
      <dgm:spPr/>
      <dgm:t>
        <a:bodyPr/>
        <a:lstStyle/>
        <a:p>
          <a:endParaRPr lang="en-US"/>
        </a:p>
      </dgm:t>
    </dgm:pt>
    <dgm:pt modelId="{6F4D90FC-C234-403C-8DBA-3A9E7F0E9C51}">
      <dgm:prSet phldrT="[Text]" phldr="1"/>
      <dgm:spPr/>
      <dgm:t>
        <a:bodyPr/>
        <a:lstStyle/>
        <a:p>
          <a:endParaRPr lang="en-US"/>
        </a:p>
      </dgm:t>
    </dgm:pt>
    <dgm:pt modelId="{976E8E3D-3F14-4388-B9B6-5881047E2CDA}" type="parTrans" cxnId="{E6B21F16-3973-4BDF-B570-E0B2CBF4030C}">
      <dgm:prSet/>
      <dgm:spPr/>
      <dgm:t>
        <a:bodyPr/>
        <a:lstStyle/>
        <a:p>
          <a:endParaRPr lang="en-US"/>
        </a:p>
      </dgm:t>
    </dgm:pt>
    <dgm:pt modelId="{9F53A138-C5EA-4577-9DA4-80BCA1BD40C4}" type="sibTrans" cxnId="{E6B21F16-3973-4BDF-B570-E0B2CBF4030C}">
      <dgm:prSet/>
      <dgm:spPr/>
      <dgm:t>
        <a:bodyPr/>
        <a:lstStyle/>
        <a:p>
          <a:endParaRPr lang="en-US"/>
        </a:p>
      </dgm:t>
    </dgm:pt>
    <dgm:pt modelId="{72ECC87D-7990-4511-A84A-B90393F3DE50}" type="pres">
      <dgm:prSet presAssocID="{03D1AA54-164A-4AE7-ABDE-AA3AD0479A36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9082838B-8E1A-44F8-8863-6499F2F90A55}" type="pres">
      <dgm:prSet presAssocID="{A89E4F67-89EE-4CC9-BACB-D0C5611D5C45}" presName="Accent1" presStyleCnt="0"/>
      <dgm:spPr/>
    </dgm:pt>
    <dgm:pt modelId="{BCAB0FB4-AF9D-4D88-BA82-0806123F455C}" type="pres">
      <dgm:prSet presAssocID="{A89E4F67-89EE-4CC9-BACB-D0C5611D5C45}" presName="Accent" presStyleLbl="node1" presStyleIdx="0" presStyleCnt="3"/>
      <dgm:spPr/>
    </dgm:pt>
    <dgm:pt modelId="{269C6B0C-142E-4D74-B880-849844DF9AC9}" type="pres">
      <dgm:prSet presAssocID="{A89E4F67-89EE-4CC9-BACB-D0C5611D5C45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37D470-82F5-4DDD-BD3C-DACC97D9712D}" type="pres">
      <dgm:prSet presAssocID="{AD2DF0DE-B60C-437E-875C-F4FB96D3D99A}" presName="Accent2" presStyleCnt="0"/>
      <dgm:spPr/>
    </dgm:pt>
    <dgm:pt modelId="{ECB96255-7129-4424-B6EE-8931949B51FD}" type="pres">
      <dgm:prSet presAssocID="{AD2DF0DE-B60C-437E-875C-F4FB96D3D99A}" presName="Accent" presStyleLbl="node1" presStyleIdx="1" presStyleCnt="3"/>
      <dgm:spPr/>
    </dgm:pt>
    <dgm:pt modelId="{CB6C2D8B-D21C-4294-8CF6-1333068BD78F}" type="pres">
      <dgm:prSet presAssocID="{AD2DF0DE-B60C-437E-875C-F4FB96D3D99A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CBC1B2-0157-434F-B6DD-1B73D37527C8}" type="pres">
      <dgm:prSet presAssocID="{6F4D90FC-C234-403C-8DBA-3A9E7F0E9C51}" presName="Accent3" presStyleCnt="0"/>
      <dgm:spPr/>
    </dgm:pt>
    <dgm:pt modelId="{7F132337-14B5-486E-B70C-838EC386F4F4}" type="pres">
      <dgm:prSet presAssocID="{6F4D90FC-C234-403C-8DBA-3A9E7F0E9C51}" presName="Accent" presStyleLbl="node1" presStyleIdx="2" presStyleCnt="3"/>
      <dgm:spPr/>
    </dgm:pt>
    <dgm:pt modelId="{E04FDAF8-6C34-4900-8600-9D444B07D3EF}" type="pres">
      <dgm:prSet presAssocID="{6F4D90FC-C234-403C-8DBA-3A9E7F0E9C51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581E86F-4743-4940-8ECD-093B1BE98D61}" type="presOf" srcId="{03D1AA54-164A-4AE7-ABDE-AA3AD0479A36}" destId="{72ECC87D-7990-4511-A84A-B90393F3DE50}" srcOrd="0" destOrd="0" presId="urn:microsoft.com/office/officeart/2009/layout/CircleArrowProcess"/>
    <dgm:cxn modelId="{85CD09B1-6899-45C7-9237-DA76369A5479}" srcId="{03D1AA54-164A-4AE7-ABDE-AA3AD0479A36}" destId="{AD2DF0DE-B60C-437E-875C-F4FB96D3D99A}" srcOrd="1" destOrd="0" parTransId="{6E5FA85E-965C-421C-8CC8-9961E79A6C0A}" sibTransId="{9C019AE3-5424-4C5F-BD6C-1B7CE45AF418}"/>
    <dgm:cxn modelId="{F0468DD1-1F78-4100-8655-74D9DC4B8C99}" type="presOf" srcId="{6F4D90FC-C234-403C-8DBA-3A9E7F0E9C51}" destId="{E04FDAF8-6C34-4900-8600-9D444B07D3EF}" srcOrd="0" destOrd="0" presId="urn:microsoft.com/office/officeart/2009/layout/CircleArrowProcess"/>
    <dgm:cxn modelId="{081EA9CD-0332-4489-8652-052B1031437F}" type="presOf" srcId="{AD2DF0DE-B60C-437E-875C-F4FB96D3D99A}" destId="{CB6C2D8B-D21C-4294-8CF6-1333068BD78F}" srcOrd="0" destOrd="0" presId="urn:microsoft.com/office/officeart/2009/layout/CircleArrowProcess"/>
    <dgm:cxn modelId="{ED672947-97F5-483A-BB02-7E0E0936A753}" type="presOf" srcId="{A89E4F67-89EE-4CC9-BACB-D0C5611D5C45}" destId="{269C6B0C-142E-4D74-B880-849844DF9AC9}" srcOrd="0" destOrd="0" presId="urn:microsoft.com/office/officeart/2009/layout/CircleArrowProcess"/>
    <dgm:cxn modelId="{ED539A29-A317-49A2-87EB-E3DA0F2BCC0C}" srcId="{03D1AA54-164A-4AE7-ABDE-AA3AD0479A36}" destId="{A89E4F67-89EE-4CC9-BACB-D0C5611D5C45}" srcOrd="0" destOrd="0" parTransId="{E38CDA1C-3A1B-4B22-907F-B45DDB2AEC91}" sibTransId="{5D3C8D1F-C0B0-4AF3-B7A7-B2AD379770DD}"/>
    <dgm:cxn modelId="{E6B21F16-3973-4BDF-B570-E0B2CBF4030C}" srcId="{03D1AA54-164A-4AE7-ABDE-AA3AD0479A36}" destId="{6F4D90FC-C234-403C-8DBA-3A9E7F0E9C51}" srcOrd="2" destOrd="0" parTransId="{976E8E3D-3F14-4388-B9B6-5881047E2CDA}" sibTransId="{9F53A138-C5EA-4577-9DA4-80BCA1BD40C4}"/>
    <dgm:cxn modelId="{937A14CF-86FF-41F3-99CF-4A2C8A9F7800}" type="presParOf" srcId="{72ECC87D-7990-4511-A84A-B90393F3DE50}" destId="{9082838B-8E1A-44F8-8863-6499F2F90A55}" srcOrd="0" destOrd="0" presId="urn:microsoft.com/office/officeart/2009/layout/CircleArrowProcess"/>
    <dgm:cxn modelId="{CD209F53-1112-4E1F-8239-DAA9C0B2DA89}" type="presParOf" srcId="{9082838B-8E1A-44F8-8863-6499F2F90A55}" destId="{BCAB0FB4-AF9D-4D88-BA82-0806123F455C}" srcOrd="0" destOrd="0" presId="urn:microsoft.com/office/officeart/2009/layout/CircleArrowProcess"/>
    <dgm:cxn modelId="{979D1F7F-E79A-4563-BF7A-422604498FC2}" type="presParOf" srcId="{72ECC87D-7990-4511-A84A-B90393F3DE50}" destId="{269C6B0C-142E-4D74-B880-849844DF9AC9}" srcOrd="1" destOrd="0" presId="urn:microsoft.com/office/officeart/2009/layout/CircleArrowProcess"/>
    <dgm:cxn modelId="{3E079CD0-77E5-4A17-85CB-E0F81F4B91FE}" type="presParOf" srcId="{72ECC87D-7990-4511-A84A-B90393F3DE50}" destId="{E837D470-82F5-4DDD-BD3C-DACC97D9712D}" srcOrd="2" destOrd="0" presId="urn:microsoft.com/office/officeart/2009/layout/CircleArrowProcess"/>
    <dgm:cxn modelId="{40B13390-093E-429D-939B-72C90035E416}" type="presParOf" srcId="{E837D470-82F5-4DDD-BD3C-DACC97D9712D}" destId="{ECB96255-7129-4424-B6EE-8931949B51FD}" srcOrd="0" destOrd="0" presId="urn:microsoft.com/office/officeart/2009/layout/CircleArrowProcess"/>
    <dgm:cxn modelId="{90AF54FA-66F8-457F-80C6-6B037C832824}" type="presParOf" srcId="{72ECC87D-7990-4511-A84A-B90393F3DE50}" destId="{CB6C2D8B-D21C-4294-8CF6-1333068BD78F}" srcOrd="3" destOrd="0" presId="urn:microsoft.com/office/officeart/2009/layout/CircleArrowProcess"/>
    <dgm:cxn modelId="{173379C1-AA05-45B5-9291-7933CE6BB84C}" type="presParOf" srcId="{72ECC87D-7990-4511-A84A-B90393F3DE50}" destId="{C8CBC1B2-0157-434F-B6DD-1B73D37527C8}" srcOrd="4" destOrd="0" presId="urn:microsoft.com/office/officeart/2009/layout/CircleArrowProcess"/>
    <dgm:cxn modelId="{4FE05A86-8D17-4E7F-BB3B-B8B1AE1A46BB}" type="presParOf" srcId="{C8CBC1B2-0157-434F-B6DD-1B73D37527C8}" destId="{7F132337-14B5-486E-B70C-838EC386F4F4}" srcOrd="0" destOrd="0" presId="urn:microsoft.com/office/officeart/2009/layout/CircleArrowProcess"/>
    <dgm:cxn modelId="{803A746C-138E-40B1-ADEC-5A840F0CDC9E}" type="presParOf" srcId="{72ECC87D-7990-4511-A84A-B90393F3DE50}" destId="{E04FDAF8-6C34-4900-8600-9D444B07D3EF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C49F7E-2ABB-4985-8391-F3495C4AEAE1}">
      <dsp:nvSpPr>
        <dsp:cNvPr id="0" name=""/>
        <dsp:cNvSpPr/>
      </dsp:nvSpPr>
      <dsp:spPr>
        <a:xfrm>
          <a:off x="1329270" y="3103182"/>
          <a:ext cx="2649703" cy="1720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649703" y="0"/>
              </a:lnTo>
              <a:lnTo>
                <a:pt x="2649703" y="172039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320E38-16CC-4C00-B60F-A8B33CF9BC4B}">
      <dsp:nvSpPr>
        <dsp:cNvPr id="0" name=""/>
        <dsp:cNvSpPr/>
      </dsp:nvSpPr>
      <dsp:spPr>
        <a:xfrm>
          <a:off x="1329270" y="2878492"/>
          <a:ext cx="2649703" cy="224690"/>
        </a:xfrm>
        <a:custGeom>
          <a:avLst/>
          <a:gdLst/>
          <a:ahLst/>
          <a:cxnLst/>
          <a:rect l="0" t="0" r="0" b="0"/>
          <a:pathLst>
            <a:path>
              <a:moveTo>
                <a:pt x="0" y="224690"/>
              </a:moveTo>
              <a:lnTo>
                <a:pt x="2649703" y="224690"/>
              </a:lnTo>
              <a:lnTo>
                <a:pt x="264970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721EBB-4C78-4840-A5EB-085F22B8B3F3}">
      <dsp:nvSpPr>
        <dsp:cNvPr id="0" name=""/>
        <dsp:cNvSpPr/>
      </dsp:nvSpPr>
      <dsp:spPr>
        <a:xfrm>
          <a:off x="1329270" y="3103182"/>
          <a:ext cx="1080055" cy="1720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80055" y="0"/>
              </a:lnTo>
              <a:lnTo>
                <a:pt x="1080055" y="172038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BBDA70-E062-4FEF-8986-86066DA59EDB}">
      <dsp:nvSpPr>
        <dsp:cNvPr id="0" name=""/>
        <dsp:cNvSpPr/>
      </dsp:nvSpPr>
      <dsp:spPr>
        <a:xfrm>
          <a:off x="1329270" y="2879352"/>
          <a:ext cx="1083045" cy="223830"/>
        </a:xfrm>
        <a:custGeom>
          <a:avLst/>
          <a:gdLst/>
          <a:ahLst/>
          <a:cxnLst/>
          <a:rect l="0" t="0" r="0" b="0"/>
          <a:pathLst>
            <a:path>
              <a:moveTo>
                <a:pt x="0" y="223830"/>
              </a:moveTo>
              <a:lnTo>
                <a:pt x="1083045" y="223830"/>
              </a:lnTo>
              <a:lnTo>
                <a:pt x="1083045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E43C64-8C64-4179-8465-566FF3C71759}">
      <dsp:nvSpPr>
        <dsp:cNvPr id="0" name=""/>
        <dsp:cNvSpPr/>
      </dsp:nvSpPr>
      <dsp:spPr>
        <a:xfrm>
          <a:off x="1329270" y="3103182"/>
          <a:ext cx="3536053" cy="29050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2905064"/>
              </a:lnTo>
              <a:lnTo>
                <a:pt x="3536053" y="2905064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88EC8E-1A8E-4121-87DF-A500F6B0501C}">
      <dsp:nvSpPr>
        <dsp:cNvPr id="0" name=""/>
        <dsp:cNvSpPr/>
      </dsp:nvSpPr>
      <dsp:spPr>
        <a:xfrm>
          <a:off x="1329270" y="3103182"/>
          <a:ext cx="3536053" cy="246841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2468417"/>
              </a:lnTo>
              <a:lnTo>
                <a:pt x="3536053" y="2468417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B3587D-2324-4B4F-8F45-30C207A56B6E}">
      <dsp:nvSpPr>
        <dsp:cNvPr id="0" name=""/>
        <dsp:cNvSpPr/>
      </dsp:nvSpPr>
      <dsp:spPr>
        <a:xfrm>
          <a:off x="1329270" y="3103182"/>
          <a:ext cx="3536053" cy="2030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2030932"/>
              </a:lnTo>
              <a:lnTo>
                <a:pt x="3536053" y="2030932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F52518-A89A-4D33-B838-0B40FCD2BF10}">
      <dsp:nvSpPr>
        <dsp:cNvPr id="0" name=""/>
        <dsp:cNvSpPr/>
      </dsp:nvSpPr>
      <dsp:spPr>
        <a:xfrm>
          <a:off x="1329270" y="3103182"/>
          <a:ext cx="3536053" cy="15907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1590714"/>
              </a:lnTo>
              <a:lnTo>
                <a:pt x="3536053" y="1590714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BFDBD1-59DD-4CFE-9ED8-A5130D3B625A}">
      <dsp:nvSpPr>
        <dsp:cNvPr id="0" name=""/>
        <dsp:cNvSpPr/>
      </dsp:nvSpPr>
      <dsp:spPr>
        <a:xfrm>
          <a:off x="1329270" y="3103182"/>
          <a:ext cx="3536053" cy="11481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1148149"/>
              </a:lnTo>
              <a:lnTo>
                <a:pt x="3536053" y="1148149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B595A7-4E27-46A5-86B2-4AD47E61F026}">
      <dsp:nvSpPr>
        <dsp:cNvPr id="0" name=""/>
        <dsp:cNvSpPr/>
      </dsp:nvSpPr>
      <dsp:spPr>
        <a:xfrm>
          <a:off x="1329270" y="3103182"/>
          <a:ext cx="3531198" cy="7256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1699" y="0"/>
              </a:lnTo>
              <a:lnTo>
                <a:pt x="3471699" y="725604"/>
              </a:lnTo>
              <a:lnTo>
                <a:pt x="3531198" y="725604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E905FB-7F11-42F0-91CB-A749E950D59F}">
      <dsp:nvSpPr>
        <dsp:cNvPr id="0" name=""/>
        <dsp:cNvSpPr/>
      </dsp:nvSpPr>
      <dsp:spPr>
        <a:xfrm>
          <a:off x="1329270" y="3103182"/>
          <a:ext cx="3536053" cy="2560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476554" y="0"/>
              </a:lnTo>
              <a:lnTo>
                <a:pt x="3476554" y="256080"/>
              </a:lnTo>
              <a:lnTo>
                <a:pt x="3536053" y="25608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81614C-E4E6-469E-BEE1-6E73C2859E85}">
      <dsp:nvSpPr>
        <dsp:cNvPr id="0" name=""/>
        <dsp:cNvSpPr/>
      </dsp:nvSpPr>
      <dsp:spPr>
        <a:xfrm>
          <a:off x="1329270" y="2910143"/>
          <a:ext cx="3536053" cy="193038"/>
        </a:xfrm>
        <a:custGeom>
          <a:avLst/>
          <a:gdLst/>
          <a:ahLst/>
          <a:cxnLst/>
          <a:rect l="0" t="0" r="0" b="0"/>
          <a:pathLst>
            <a:path>
              <a:moveTo>
                <a:pt x="0" y="193038"/>
              </a:moveTo>
              <a:lnTo>
                <a:pt x="3476554" y="193038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023B9A-7DB6-4370-80FA-E1E7F8E0245E}">
      <dsp:nvSpPr>
        <dsp:cNvPr id="0" name=""/>
        <dsp:cNvSpPr/>
      </dsp:nvSpPr>
      <dsp:spPr>
        <a:xfrm>
          <a:off x="1329270" y="2459013"/>
          <a:ext cx="3536053" cy="644168"/>
        </a:xfrm>
        <a:custGeom>
          <a:avLst/>
          <a:gdLst/>
          <a:ahLst/>
          <a:cxnLst/>
          <a:rect l="0" t="0" r="0" b="0"/>
          <a:pathLst>
            <a:path>
              <a:moveTo>
                <a:pt x="0" y="644168"/>
              </a:moveTo>
              <a:lnTo>
                <a:pt x="3476554" y="644168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D86CF1-A6DE-4238-A9B6-43088B81BACB}">
      <dsp:nvSpPr>
        <dsp:cNvPr id="0" name=""/>
        <dsp:cNvSpPr/>
      </dsp:nvSpPr>
      <dsp:spPr>
        <a:xfrm>
          <a:off x="1329270" y="2006076"/>
          <a:ext cx="3536053" cy="1097106"/>
        </a:xfrm>
        <a:custGeom>
          <a:avLst/>
          <a:gdLst/>
          <a:ahLst/>
          <a:cxnLst/>
          <a:rect l="0" t="0" r="0" b="0"/>
          <a:pathLst>
            <a:path>
              <a:moveTo>
                <a:pt x="0" y="1097106"/>
              </a:moveTo>
              <a:lnTo>
                <a:pt x="3476554" y="1097106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1F3F5C-5FFA-4085-8C0E-1A185C860D1D}">
      <dsp:nvSpPr>
        <dsp:cNvPr id="0" name=""/>
        <dsp:cNvSpPr/>
      </dsp:nvSpPr>
      <dsp:spPr>
        <a:xfrm>
          <a:off x="1329270" y="1551314"/>
          <a:ext cx="3536053" cy="1551867"/>
        </a:xfrm>
        <a:custGeom>
          <a:avLst/>
          <a:gdLst/>
          <a:ahLst/>
          <a:cxnLst/>
          <a:rect l="0" t="0" r="0" b="0"/>
          <a:pathLst>
            <a:path>
              <a:moveTo>
                <a:pt x="0" y="1551867"/>
              </a:moveTo>
              <a:lnTo>
                <a:pt x="3476554" y="1551867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62746C-3343-4E37-A733-0E93B668C6CE}">
      <dsp:nvSpPr>
        <dsp:cNvPr id="0" name=""/>
        <dsp:cNvSpPr/>
      </dsp:nvSpPr>
      <dsp:spPr>
        <a:xfrm>
          <a:off x="1329270" y="1096780"/>
          <a:ext cx="3536053" cy="2006402"/>
        </a:xfrm>
        <a:custGeom>
          <a:avLst/>
          <a:gdLst/>
          <a:ahLst/>
          <a:cxnLst/>
          <a:rect l="0" t="0" r="0" b="0"/>
          <a:pathLst>
            <a:path>
              <a:moveTo>
                <a:pt x="0" y="2006402"/>
              </a:moveTo>
              <a:lnTo>
                <a:pt x="3476554" y="2006402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22E004-8525-48AF-B040-6E0A6126B9D6}">
      <dsp:nvSpPr>
        <dsp:cNvPr id="0" name=""/>
        <dsp:cNvSpPr/>
      </dsp:nvSpPr>
      <dsp:spPr>
        <a:xfrm>
          <a:off x="1329270" y="644296"/>
          <a:ext cx="3536053" cy="2458886"/>
        </a:xfrm>
        <a:custGeom>
          <a:avLst/>
          <a:gdLst/>
          <a:ahLst/>
          <a:cxnLst/>
          <a:rect l="0" t="0" r="0" b="0"/>
          <a:pathLst>
            <a:path>
              <a:moveTo>
                <a:pt x="0" y="2458886"/>
              </a:moveTo>
              <a:lnTo>
                <a:pt x="3476554" y="2458886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EB4B5B-A6BE-402B-BD64-D08400C7B531}">
      <dsp:nvSpPr>
        <dsp:cNvPr id="0" name=""/>
        <dsp:cNvSpPr/>
      </dsp:nvSpPr>
      <dsp:spPr>
        <a:xfrm>
          <a:off x="1329270" y="191811"/>
          <a:ext cx="3536053" cy="2911371"/>
        </a:xfrm>
        <a:custGeom>
          <a:avLst/>
          <a:gdLst/>
          <a:ahLst/>
          <a:cxnLst/>
          <a:rect l="0" t="0" r="0" b="0"/>
          <a:pathLst>
            <a:path>
              <a:moveTo>
                <a:pt x="0" y="2911371"/>
              </a:moveTo>
              <a:lnTo>
                <a:pt x="3476554" y="2911371"/>
              </a:lnTo>
              <a:lnTo>
                <a:pt x="3476554" y="0"/>
              </a:lnTo>
              <a:lnTo>
                <a:pt x="3536053" y="0"/>
              </a:lnTo>
            </a:path>
          </a:pathLst>
        </a:custGeom>
        <a:noFill/>
        <a:ln w="12700" cap="flat" cmpd="sng" algn="ctr">
          <a:solidFill>
            <a:schemeClr val="accent1">
              <a:tint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59C001-51A3-41E8-A27B-FDDDBAF3461B}">
      <dsp:nvSpPr>
        <dsp:cNvPr id="0" name=""/>
        <dsp:cNvSpPr/>
      </dsp:nvSpPr>
      <dsp:spPr>
        <a:xfrm>
          <a:off x="0" y="2775043"/>
          <a:ext cx="1329270" cy="656277"/>
        </a:xfrm>
        <a:prstGeom prst="roundRect">
          <a:avLst/>
        </a:prstGeom>
        <a:gradFill rotWithShape="0">
          <a:gsLst>
            <a:gs pos="0">
              <a:schemeClr val="accent1">
                <a:shade val="6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6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6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Programledelse</a:t>
          </a:r>
        </a:p>
      </dsp:txBody>
      <dsp:txXfrm>
        <a:off x="32037" y="2807080"/>
        <a:ext cx="1265196" cy="592203"/>
      </dsp:txXfrm>
    </dsp:sp>
    <dsp:sp modelId="{AE8940C8-DA71-4DBC-984A-5E196479C825}">
      <dsp:nvSpPr>
        <dsp:cNvPr id="0" name=""/>
        <dsp:cNvSpPr/>
      </dsp:nvSpPr>
      <dsp:spPr>
        <a:xfrm>
          <a:off x="4865324" y="2303"/>
          <a:ext cx="3624816" cy="37901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Regional EPJ Standardisering</a:t>
          </a:r>
        </a:p>
      </dsp:txBody>
      <dsp:txXfrm>
        <a:off x="4883826" y="20805"/>
        <a:ext cx="3587812" cy="342011"/>
      </dsp:txXfrm>
    </dsp:sp>
    <dsp:sp modelId="{B85C1E2B-9457-44E0-BCBE-5F56FCFF2E85}">
      <dsp:nvSpPr>
        <dsp:cNvPr id="0" name=""/>
        <dsp:cNvSpPr/>
      </dsp:nvSpPr>
      <dsp:spPr>
        <a:xfrm>
          <a:off x="4865324" y="455693"/>
          <a:ext cx="3624810" cy="37720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/>
            <a:t>Regional EPJ Modernisering (FRAM)</a:t>
          </a:r>
          <a:endParaRPr lang="nb-NO" sz="1400" b="1" kern="1200" dirty="0"/>
        </a:p>
      </dsp:txBody>
      <dsp:txXfrm>
        <a:off x="4883738" y="474107"/>
        <a:ext cx="3587982" cy="340376"/>
      </dsp:txXfrm>
    </dsp:sp>
    <dsp:sp modelId="{CCC76F8E-5101-436B-B7A0-8C4418E94C0D}">
      <dsp:nvSpPr>
        <dsp:cNvPr id="0" name=""/>
        <dsp:cNvSpPr/>
      </dsp:nvSpPr>
      <dsp:spPr>
        <a:xfrm>
          <a:off x="4865324" y="907272"/>
          <a:ext cx="3624816" cy="379015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Regional EPJ Konsolidering</a:t>
          </a:r>
        </a:p>
      </dsp:txBody>
      <dsp:txXfrm>
        <a:off x="4883826" y="925774"/>
        <a:ext cx="3587812" cy="342011"/>
      </dsp:txXfrm>
    </dsp:sp>
    <dsp:sp modelId="{5AABC5E0-FA85-414D-85A8-C8617D736C45}">
      <dsp:nvSpPr>
        <dsp:cNvPr id="0" name=""/>
        <dsp:cNvSpPr/>
      </dsp:nvSpPr>
      <dsp:spPr>
        <a:xfrm>
          <a:off x="4865324" y="1360662"/>
          <a:ext cx="3624816" cy="38130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cs typeface="Arial" panose="020B0604020202020204" pitchFamily="34" charset="0"/>
            </a:rPr>
            <a:t>Regional radiologi </a:t>
          </a:r>
        </a:p>
      </dsp:txBody>
      <dsp:txXfrm>
        <a:off x="4883938" y="1379276"/>
        <a:ext cx="3587588" cy="344076"/>
      </dsp:txXfrm>
    </dsp:sp>
    <dsp:sp modelId="{7856D2BE-4302-4777-8933-ADA16FD9CCFB}">
      <dsp:nvSpPr>
        <dsp:cNvPr id="0" name=""/>
        <dsp:cNvSpPr/>
      </dsp:nvSpPr>
      <dsp:spPr>
        <a:xfrm rot="10800000" flipV="1">
          <a:off x="4865324" y="1816341"/>
          <a:ext cx="3624816" cy="379471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cs typeface="Arial" panose="020B0604020202020204" pitchFamily="34" charset="0"/>
            </a:rPr>
            <a:t>Regional Lab</a:t>
          </a:r>
        </a:p>
      </dsp:txBody>
      <dsp:txXfrm rot="-10800000">
        <a:off x="4883848" y="1834865"/>
        <a:ext cx="3587768" cy="342423"/>
      </dsp:txXfrm>
    </dsp:sp>
    <dsp:sp modelId="{8E79C9CD-C52D-47BE-B1B4-960A9C5C6949}">
      <dsp:nvSpPr>
        <dsp:cNvPr id="0" name=""/>
        <dsp:cNvSpPr/>
      </dsp:nvSpPr>
      <dsp:spPr>
        <a:xfrm>
          <a:off x="4865324" y="2270186"/>
          <a:ext cx="3624816" cy="37765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Interaktiv henvisning og rekvirering</a:t>
          </a:r>
        </a:p>
      </dsp:txBody>
      <dsp:txXfrm>
        <a:off x="4883760" y="2288622"/>
        <a:ext cx="3587944" cy="340782"/>
      </dsp:txXfrm>
    </dsp:sp>
    <dsp:sp modelId="{187EA4FF-6648-4C55-943D-60C92E175A3D}">
      <dsp:nvSpPr>
        <dsp:cNvPr id="0" name=""/>
        <dsp:cNvSpPr/>
      </dsp:nvSpPr>
      <dsp:spPr>
        <a:xfrm>
          <a:off x="4865324" y="2722215"/>
          <a:ext cx="3624816" cy="37585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Regional kurve og medikasjon</a:t>
          </a:r>
          <a:endParaRPr lang="nb-NO" sz="1400" kern="1200" dirty="0" smtClean="0">
            <a:latin typeface="+mn-lt"/>
            <a:ea typeface="+mn-ea"/>
            <a:cs typeface="+mn-cs"/>
          </a:endParaRPr>
        </a:p>
      </dsp:txBody>
      <dsp:txXfrm>
        <a:off x="4883672" y="2740563"/>
        <a:ext cx="3588120" cy="339160"/>
      </dsp:txXfrm>
    </dsp:sp>
    <dsp:sp modelId="{3CC29F65-241D-426D-84B0-B14029A8CEED}">
      <dsp:nvSpPr>
        <dsp:cNvPr id="0" name=""/>
        <dsp:cNvSpPr/>
      </dsp:nvSpPr>
      <dsp:spPr>
        <a:xfrm>
          <a:off x="4865324" y="3172446"/>
          <a:ext cx="3624816" cy="373633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Medikamentell kreftbehandling </a:t>
          </a:r>
        </a:p>
      </dsp:txBody>
      <dsp:txXfrm>
        <a:off x="4883563" y="3190685"/>
        <a:ext cx="3588338" cy="337155"/>
      </dsp:txXfrm>
    </dsp:sp>
    <dsp:sp modelId="{1953BCFA-210D-4A09-A920-829595D1D5C7}">
      <dsp:nvSpPr>
        <dsp:cNvPr id="0" name=""/>
        <dsp:cNvSpPr/>
      </dsp:nvSpPr>
      <dsp:spPr>
        <a:xfrm>
          <a:off x="4860468" y="3642851"/>
          <a:ext cx="3624816" cy="371872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Regional multimedia </a:t>
          </a:r>
        </a:p>
      </dsp:txBody>
      <dsp:txXfrm>
        <a:off x="4878621" y="3661004"/>
        <a:ext cx="3588510" cy="335566"/>
      </dsp:txXfrm>
    </dsp:sp>
    <dsp:sp modelId="{BE4C5272-4FD5-4415-8AF3-5B76B57CC5FB}">
      <dsp:nvSpPr>
        <dsp:cNvPr id="0" name=""/>
        <dsp:cNvSpPr/>
      </dsp:nvSpPr>
      <dsp:spPr>
        <a:xfrm>
          <a:off x="4865324" y="4066700"/>
          <a:ext cx="3624816" cy="369263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HF-HF kommunikasjon</a:t>
          </a:r>
        </a:p>
      </dsp:txBody>
      <dsp:txXfrm>
        <a:off x="4883350" y="4084726"/>
        <a:ext cx="3588764" cy="333211"/>
      </dsp:txXfrm>
    </dsp:sp>
    <dsp:sp modelId="{3114991B-420A-4785-ABBD-5CB33B81BE4F}">
      <dsp:nvSpPr>
        <dsp:cNvPr id="0" name=""/>
        <dsp:cNvSpPr/>
      </dsp:nvSpPr>
      <dsp:spPr>
        <a:xfrm>
          <a:off x="4865324" y="4510338"/>
          <a:ext cx="3624816" cy="36711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Automatisk tildeling av fødselsnummer</a:t>
          </a:r>
          <a:endParaRPr lang="nb-NO" sz="1400" kern="1200" dirty="0">
            <a:latin typeface="+mn-lt"/>
          </a:endParaRPr>
        </a:p>
      </dsp:txBody>
      <dsp:txXfrm>
        <a:off x="4883245" y="4528259"/>
        <a:ext cx="3588974" cy="331274"/>
      </dsp:txXfrm>
    </dsp:sp>
    <dsp:sp modelId="{0019AB8E-A64E-437D-9890-6BB53A5FB33A}">
      <dsp:nvSpPr>
        <dsp:cNvPr id="0" name=""/>
        <dsp:cNvSpPr/>
      </dsp:nvSpPr>
      <dsp:spPr>
        <a:xfrm>
          <a:off x="4865324" y="4951829"/>
          <a:ext cx="3624816" cy="364572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Sykehuset Innlandet radiologi </a:t>
          </a:r>
        </a:p>
      </dsp:txBody>
      <dsp:txXfrm>
        <a:off x="4883121" y="4969626"/>
        <a:ext cx="3589222" cy="328978"/>
      </dsp:txXfrm>
    </dsp:sp>
    <dsp:sp modelId="{F73CC906-0845-48C8-8B8F-090E96A60656}">
      <dsp:nvSpPr>
        <dsp:cNvPr id="0" name=""/>
        <dsp:cNvSpPr/>
      </dsp:nvSpPr>
      <dsp:spPr>
        <a:xfrm>
          <a:off x="4865324" y="5390775"/>
          <a:ext cx="3624810" cy="361648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/>
            <a:t>Regional ambulansejournal</a:t>
          </a:r>
          <a:endParaRPr lang="nb-NO" sz="1400" b="1" kern="1200" dirty="0"/>
        </a:p>
      </dsp:txBody>
      <dsp:txXfrm>
        <a:off x="4882978" y="5408429"/>
        <a:ext cx="3589502" cy="326340"/>
      </dsp:txXfrm>
    </dsp:sp>
    <dsp:sp modelId="{596E066C-032D-4E00-9FE9-2B75249D0D86}">
      <dsp:nvSpPr>
        <dsp:cNvPr id="0" name=""/>
        <dsp:cNvSpPr/>
      </dsp:nvSpPr>
      <dsp:spPr>
        <a:xfrm>
          <a:off x="4865324" y="5826798"/>
          <a:ext cx="3624816" cy="362897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Digitale innbyggertjenester i Helse Sør-Øst </a:t>
          </a:r>
        </a:p>
      </dsp:txBody>
      <dsp:txXfrm>
        <a:off x="4883039" y="5844513"/>
        <a:ext cx="3589386" cy="327467"/>
      </dsp:txXfrm>
    </dsp:sp>
    <dsp:sp modelId="{194B940C-0038-4483-B736-02A0414A1665}">
      <dsp:nvSpPr>
        <dsp:cNvPr id="0" name=""/>
        <dsp:cNvSpPr/>
      </dsp:nvSpPr>
      <dsp:spPr>
        <a:xfrm>
          <a:off x="1719918" y="2302147"/>
          <a:ext cx="1384794" cy="57720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Arkitektur og design </a:t>
          </a:r>
        </a:p>
      </dsp:txBody>
      <dsp:txXfrm>
        <a:off x="1748095" y="2330324"/>
        <a:ext cx="1328440" cy="520850"/>
      </dsp:txXfrm>
    </dsp:sp>
    <dsp:sp modelId="{27378492-1D44-4F6E-82F0-B78141BD4242}">
      <dsp:nvSpPr>
        <dsp:cNvPr id="0" name=""/>
        <dsp:cNvSpPr/>
      </dsp:nvSpPr>
      <dsp:spPr>
        <a:xfrm>
          <a:off x="1709470" y="3275220"/>
          <a:ext cx="1399711" cy="57606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Programkontor</a:t>
          </a:r>
        </a:p>
      </dsp:txBody>
      <dsp:txXfrm>
        <a:off x="1737591" y="3303341"/>
        <a:ext cx="1343469" cy="519824"/>
      </dsp:txXfrm>
    </dsp:sp>
    <dsp:sp modelId="{671D7A3D-337B-4440-BA5E-20BBDBAD55F6}">
      <dsp:nvSpPr>
        <dsp:cNvPr id="0" name=""/>
        <dsp:cNvSpPr/>
      </dsp:nvSpPr>
      <dsp:spPr>
        <a:xfrm>
          <a:off x="3268157" y="2302146"/>
          <a:ext cx="1421630" cy="57634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ea typeface="+mn-ea"/>
              <a:cs typeface="+mn-cs"/>
            </a:rPr>
            <a:t>Kommunikasjon</a:t>
          </a:r>
          <a:endParaRPr lang="nb-NO" sz="1400" b="0" kern="1200" dirty="0" smtClean="0">
            <a:latin typeface="+mn-lt"/>
            <a:ea typeface="+mn-ea"/>
            <a:cs typeface="+mn-cs"/>
          </a:endParaRPr>
        </a:p>
      </dsp:txBody>
      <dsp:txXfrm>
        <a:off x="3296292" y="2330281"/>
        <a:ext cx="1365360" cy="520076"/>
      </dsp:txXfrm>
    </dsp:sp>
    <dsp:sp modelId="{07116DCA-B61B-43B8-8F83-58FEE4969E23}">
      <dsp:nvSpPr>
        <dsp:cNvPr id="0" name=""/>
        <dsp:cNvSpPr/>
      </dsp:nvSpPr>
      <dsp:spPr>
        <a:xfrm>
          <a:off x="3268157" y="3275222"/>
          <a:ext cx="1421630" cy="576346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b="1" kern="1200" dirty="0" smtClean="0">
              <a:latin typeface="+mn-lt"/>
              <a:cs typeface="Arial" panose="020B0604020202020204" pitchFamily="34" charset="0"/>
            </a:rPr>
            <a:t>Test &amp; </a:t>
          </a:r>
          <a:r>
            <a:rPr lang="nb-NO" sz="1400" b="1" kern="1200" dirty="0" err="1" smtClean="0">
              <a:latin typeface="+mn-lt"/>
              <a:cs typeface="Arial" panose="020B0604020202020204" pitchFamily="34" charset="0"/>
            </a:rPr>
            <a:t>release</a:t>
          </a:r>
          <a:r>
            <a:rPr lang="nb-NO" sz="1400" b="1" kern="1200" dirty="0" smtClean="0">
              <a:latin typeface="+mn-lt"/>
              <a:cs typeface="Arial" panose="020B0604020202020204" pitchFamily="34" charset="0"/>
            </a:rPr>
            <a:t> </a:t>
          </a:r>
        </a:p>
      </dsp:txBody>
      <dsp:txXfrm>
        <a:off x="3296292" y="3303357"/>
        <a:ext cx="1365360" cy="5200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AB0FB4-AF9D-4D88-BA82-0806123F455C}">
      <dsp:nvSpPr>
        <dsp:cNvPr id="0" name=""/>
        <dsp:cNvSpPr/>
      </dsp:nvSpPr>
      <dsp:spPr>
        <a:xfrm>
          <a:off x="693051" y="0"/>
          <a:ext cx="822892" cy="823017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9C6B0C-142E-4D74-B880-849844DF9AC9}">
      <dsp:nvSpPr>
        <dsp:cNvPr id="0" name=""/>
        <dsp:cNvSpPr/>
      </dsp:nvSpPr>
      <dsp:spPr>
        <a:xfrm>
          <a:off x="874938" y="297134"/>
          <a:ext cx="457265" cy="2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874938" y="297134"/>
        <a:ext cx="457265" cy="228578"/>
      </dsp:txXfrm>
    </dsp:sp>
    <dsp:sp modelId="{ECB96255-7129-4424-B6EE-8931949B51FD}">
      <dsp:nvSpPr>
        <dsp:cNvPr id="0" name=""/>
        <dsp:cNvSpPr/>
      </dsp:nvSpPr>
      <dsp:spPr>
        <a:xfrm>
          <a:off x="464496" y="472884"/>
          <a:ext cx="822892" cy="823017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6C2D8B-D21C-4294-8CF6-1333068BD78F}">
      <dsp:nvSpPr>
        <dsp:cNvPr id="0" name=""/>
        <dsp:cNvSpPr/>
      </dsp:nvSpPr>
      <dsp:spPr>
        <a:xfrm>
          <a:off x="647309" y="772754"/>
          <a:ext cx="457265" cy="2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647309" y="772754"/>
        <a:ext cx="457265" cy="228578"/>
      </dsp:txXfrm>
    </dsp:sp>
    <dsp:sp modelId="{7F132337-14B5-486E-B70C-838EC386F4F4}">
      <dsp:nvSpPr>
        <dsp:cNvPr id="0" name=""/>
        <dsp:cNvSpPr/>
      </dsp:nvSpPr>
      <dsp:spPr>
        <a:xfrm>
          <a:off x="751620" y="1002358"/>
          <a:ext cx="706992" cy="707275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4FDAF8-6C34-4900-8600-9D444B07D3EF}">
      <dsp:nvSpPr>
        <dsp:cNvPr id="0" name=""/>
        <dsp:cNvSpPr/>
      </dsp:nvSpPr>
      <dsp:spPr>
        <a:xfrm>
          <a:off x="876020" y="1249058"/>
          <a:ext cx="457265" cy="228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500" kern="1200"/>
        </a:p>
      </dsp:txBody>
      <dsp:txXfrm>
        <a:off x="876020" y="1249058"/>
        <a:ext cx="457265" cy="2285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064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456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5389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121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5700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8070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012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499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678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541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998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5488B1-1ECA-4D0F-9B62-C3F40CB22FCC}" type="datetimeFigureOut">
              <a:rPr lang="en-US" smtClean="0"/>
              <a:t>4/1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54450D-4280-4842-BE35-02BAB5A4E2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423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dirty="0" smtClean="0"/>
              <a:t>Adaptive </a:t>
            </a:r>
            <a:r>
              <a:rPr lang="nb-NO" dirty="0" err="1" smtClean="0"/>
              <a:t>Networked</a:t>
            </a:r>
            <a:r>
              <a:rPr lang="nb-NO" dirty="0" smtClean="0"/>
              <a:t>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e-</a:t>
            </a:r>
            <a:r>
              <a:rPr lang="nb-NO" dirty="0" err="1" smtClean="0"/>
              <a:t>health</a:t>
            </a:r>
            <a:r>
              <a:rPr lang="nb-NO" dirty="0" smtClean="0"/>
              <a:t> Standard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298724"/>
            <a:ext cx="9144000" cy="1655762"/>
          </a:xfrm>
        </p:spPr>
        <p:txBody>
          <a:bodyPr>
            <a:normAutofit/>
          </a:bodyPr>
          <a:lstStyle/>
          <a:p>
            <a:r>
              <a:rPr lang="nb-NO" dirty="0" smtClean="0"/>
              <a:t>IN5430</a:t>
            </a:r>
          </a:p>
          <a:p>
            <a:r>
              <a:rPr lang="nb-NO" dirty="0" smtClean="0"/>
              <a:t>10.04.2019</a:t>
            </a:r>
          </a:p>
          <a:p>
            <a:r>
              <a:rPr lang="nb-NO" dirty="0" smtClean="0"/>
              <a:t>Kristoffer Foss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2102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8287" y="157307"/>
            <a:ext cx="10515600" cy="1325563"/>
          </a:xfrm>
        </p:spPr>
        <p:txBody>
          <a:bodyPr/>
          <a:lstStyle/>
          <a:p>
            <a:r>
              <a:rPr lang="nb-NO" dirty="0" smtClean="0"/>
              <a:t>Support </a:t>
            </a:r>
            <a:r>
              <a:rPr lang="nb-NO" dirty="0" err="1" smtClean="0"/>
              <a:t>patient</a:t>
            </a:r>
            <a:r>
              <a:rPr lang="nb-NO" dirty="0" smtClean="0"/>
              <a:t> </a:t>
            </a:r>
            <a:r>
              <a:rPr lang="nb-NO" dirty="0" err="1" smtClean="0"/>
              <a:t>treatment</a:t>
            </a:r>
            <a:r>
              <a:rPr lang="nb-NO" dirty="0" smtClean="0"/>
              <a:t> and </a:t>
            </a:r>
            <a:r>
              <a:rPr lang="nb-NO" dirty="0" err="1" smtClean="0"/>
              <a:t>flow</a:t>
            </a:r>
            <a:endParaRPr lang="nb-NO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11280"/>
            <a:ext cx="8288337" cy="533494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1252" y="3147646"/>
            <a:ext cx="4097244" cy="305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55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873" y="127619"/>
            <a:ext cx="10515600" cy="349459"/>
          </a:xfrm>
        </p:spPr>
        <p:txBody>
          <a:bodyPr>
            <a:normAutofit fontScale="90000"/>
          </a:bodyPr>
          <a:lstStyle/>
          <a:p>
            <a:r>
              <a:rPr lang="nb-NO" dirty="0" smtClean="0"/>
              <a:t>IT systems support </a:t>
            </a:r>
            <a:r>
              <a:rPr lang="nb-NO" dirty="0" err="1" smtClean="0"/>
              <a:t>many</a:t>
            </a:r>
            <a:r>
              <a:rPr lang="nb-NO" dirty="0" smtClean="0"/>
              <a:t> </a:t>
            </a:r>
            <a:r>
              <a:rPr lang="nb-NO" dirty="0" err="1" smtClean="0"/>
              <a:t>functions</a:t>
            </a:r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66" y="628153"/>
            <a:ext cx="12006607" cy="6164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769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24" y="222622"/>
            <a:ext cx="10515600" cy="1325563"/>
          </a:xfrm>
        </p:spPr>
        <p:txBody>
          <a:bodyPr/>
          <a:lstStyle/>
          <a:p>
            <a:r>
              <a:rPr lang="nb-NO" dirty="0" err="1" smtClean="0"/>
              <a:t>Many</a:t>
            </a:r>
            <a:r>
              <a:rPr lang="nb-NO" dirty="0" smtClean="0"/>
              <a:t> IT systems to support hospital </a:t>
            </a:r>
            <a:r>
              <a:rPr lang="nb-NO" dirty="0" err="1" smtClean="0"/>
              <a:t>operations</a:t>
            </a:r>
            <a:endParaRPr lang="nb-NO" dirty="0"/>
          </a:p>
        </p:txBody>
      </p:sp>
      <p:pic>
        <p:nvPicPr>
          <p:cNvPr id="4" name="Bilde 18"/>
          <p:cNvPicPr/>
          <p:nvPr/>
        </p:nvPicPr>
        <p:blipFill>
          <a:blip r:embed="rId2"/>
          <a:stretch>
            <a:fillRect/>
          </a:stretch>
        </p:blipFill>
        <p:spPr>
          <a:xfrm>
            <a:off x="4689406" y="1275041"/>
            <a:ext cx="6889778" cy="5238749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3894117" cy="4351338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nb-NO" dirty="0" err="1" smtClean="0"/>
              <a:t>Approx</a:t>
            </a:r>
            <a:r>
              <a:rPr lang="nb-NO" dirty="0" smtClean="0"/>
              <a:t>. 5700 IT </a:t>
            </a:r>
            <a:r>
              <a:rPr lang="nb-NO" dirty="0" err="1" smtClean="0"/>
              <a:t>applications</a:t>
            </a:r>
            <a:endParaRPr lang="nb-NO" dirty="0" smtClean="0"/>
          </a:p>
          <a:p>
            <a:pPr lvl="1">
              <a:spcAft>
                <a:spcPts val="1200"/>
              </a:spcAft>
            </a:pPr>
            <a:r>
              <a:rPr lang="nb-NO" dirty="0" smtClean="0"/>
              <a:t>More </a:t>
            </a:r>
            <a:r>
              <a:rPr lang="nb-NO" dirty="0" err="1" smtClean="0"/>
              <a:t>than</a:t>
            </a:r>
            <a:r>
              <a:rPr lang="nb-NO" dirty="0" smtClean="0"/>
              <a:t> 1200 </a:t>
            </a:r>
            <a:r>
              <a:rPr lang="nb-NO" dirty="0" err="1" smtClean="0"/>
              <a:t>directly</a:t>
            </a:r>
            <a:r>
              <a:rPr lang="nb-NO" dirty="0" smtClean="0"/>
              <a:t> </a:t>
            </a:r>
            <a:r>
              <a:rPr lang="nb-NO" dirty="0" err="1" smtClean="0"/>
              <a:t>involved</a:t>
            </a:r>
            <a:r>
              <a:rPr lang="nb-NO" dirty="0" smtClean="0"/>
              <a:t> in </a:t>
            </a:r>
            <a:r>
              <a:rPr lang="nb-NO" dirty="0" err="1" smtClean="0"/>
              <a:t>clinical</a:t>
            </a:r>
            <a:r>
              <a:rPr lang="nb-NO" dirty="0" smtClean="0"/>
              <a:t> </a:t>
            </a:r>
            <a:r>
              <a:rPr lang="nb-NO" dirty="0" err="1" smtClean="0"/>
              <a:t>work</a:t>
            </a:r>
            <a:endParaRPr lang="nb-NO" dirty="0" smtClean="0"/>
          </a:p>
          <a:p>
            <a:pPr lvl="1">
              <a:spcAft>
                <a:spcPts val="1200"/>
              </a:spcAft>
            </a:pPr>
            <a:r>
              <a:rPr lang="nb-NO" dirty="0" smtClean="0"/>
              <a:t>Administrative systems</a:t>
            </a:r>
          </a:p>
          <a:p>
            <a:pPr lvl="1">
              <a:spcAft>
                <a:spcPts val="1200"/>
              </a:spcAft>
            </a:pPr>
            <a:r>
              <a:rPr lang="nb-NO" dirty="0" smtClean="0"/>
              <a:t>Etc.</a:t>
            </a:r>
          </a:p>
          <a:p>
            <a:pPr>
              <a:spcAft>
                <a:spcPts val="1200"/>
              </a:spcAft>
            </a:pPr>
            <a:r>
              <a:rPr lang="nb-NO" dirty="0" err="1" smtClean="0"/>
              <a:t>Unknown</a:t>
            </a:r>
            <a:r>
              <a:rPr lang="nb-NO" dirty="0" smtClean="0"/>
              <a:t> </a:t>
            </a:r>
            <a:r>
              <a:rPr lang="nb-NO" dirty="0" err="1" smtClean="0"/>
              <a:t>number</a:t>
            </a:r>
            <a:r>
              <a:rPr lang="nb-NO" dirty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local</a:t>
            </a:r>
            <a:r>
              <a:rPr lang="nb-NO" dirty="0" smtClean="0"/>
              <a:t> «under </a:t>
            </a:r>
            <a:r>
              <a:rPr lang="nb-NO" dirty="0" err="1" smtClean="0"/>
              <a:t>the</a:t>
            </a:r>
            <a:r>
              <a:rPr lang="nb-NO" dirty="0" smtClean="0"/>
              <a:t> radar» systems</a:t>
            </a:r>
          </a:p>
        </p:txBody>
      </p:sp>
    </p:spTree>
    <p:extLst>
      <p:ext uri="{BB962C8B-B14F-4D97-AF65-F5344CB8AC3E}">
        <p14:creationId xmlns:p14="http://schemas.microsoft.com/office/powerpoint/2010/main" val="427753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618" y="86055"/>
            <a:ext cx="10515600" cy="1325563"/>
          </a:xfrm>
        </p:spPr>
        <p:txBody>
          <a:bodyPr/>
          <a:lstStyle/>
          <a:p>
            <a:r>
              <a:rPr lang="nb-NO" dirty="0" err="1"/>
              <a:t>M</a:t>
            </a:r>
            <a:r>
              <a:rPr lang="nb-NO" dirty="0" err="1" smtClean="0"/>
              <a:t>any</a:t>
            </a:r>
            <a:r>
              <a:rPr lang="nb-NO" dirty="0" smtClean="0"/>
              <a:t> different IT systems for </a:t>
            </a:r>
            <a:r>
              <a:rPr lang="nb-NO" dirty="0" err="1" smtClean="0"/>
              <a:t>the</a:t>
            </a:r>
            <a:r>
              <a:rPr lang="nb-NO" dirty="0" smtClean="0"/>
              <a:t> same </a:t>
            </a:r>
            <a:r>
              <a:rPr lang="nb-NO" dirty="0" err="1" smtClean="0"/>
              <a:t>functions</a:t>
            </a:r>
            <a:endParaRPr lang="nb-NO" dirty="0"/>
          </a:p>
        </p:txBody>
      </p:sp>
      <p:graphicFrame>
        <p:nvGraphicFramePr>
          <p:cNvPr id="6" name="Group 3"/>
          <p:cNvGraphicFramePr>
            <a:graphicFrameLocks noGrp="1"/>
          </p:cNvGraphicFramePr>
          <p:nvPr>
            <p:extLst/>
          </p:nvPr>
        </p:nvGraphicFramePr>
        <p:xfrm>
          <a:off x="2389835" y="1020023"/>
          <a:ext cx="8373616" cy="5583443"/>
        </p:xfrm>
        <a:graphic>
          <a:graphicData uri="http://schemas.openxmlformats.org/drawingml/2006/table">
            <a:tbl>
              <a:tblPr/>
              <a:tblGrid>
                <a:gridCol w="7445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7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21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731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25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065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28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7734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74076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628625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>
                      <a:noFill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S/EPJ</a:t>
                      </a: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IS/PAC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- Medisinsk biokjem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-</a:t>
                      </a: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ikro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</a:t>
                      </a: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biologi</a:t>
                      </a:r>
                      <a:endParaRPr kumimoji="0" lang="nb-NO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 - Patolog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- Blodbank</a:t>
                      </a:r>
                      <a:endParaRPr kumimoji="0" lang="nb-NO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Kurve og medikasjon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ulti</a:t>
                      </a:r>
                      <a:r>
                        <a:rPr kumimoji="0" lang="nb-NO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media</a:t>
                      </a: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Medika-mentell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kreft-behandli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mbulanse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journal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en-US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øde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journal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769">
                <a:tc rowSpan="4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Oslo universitets-sykehus</a:t>
                      </a: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sDoc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60000"/>
                        <a:lumOff val="40000"/>
                      </a:srgbClr>
                    </a:solidFill>
                  </a:tcPr>
                </a:tc>
                <a:tc rowSpan="3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iemen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60000"/>
                        <a:lumOff val="40000"/>
                      </a:srgbClr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lex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20000"/>
                        <a:lumOff val="80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wiss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66"/>
                    </a:solidFill>
                  </a:tcPr>
                </a:tc>
                <a:tc rowSpan="4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ocuLiv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tolog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 rowSpan="4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etaVision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</a:t>
                      </a: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do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</a:t>
                      </a: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-dos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454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ocuLiv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wiss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66"/>
                    </a:solidFill>
                  </a:tcPr>
                </a:tc>
                <a:tc vMerge="1">
                  <a:txBody>
                    <a:bodyPr/>
                    <a:lstStyle>
                      <a:defPPr>
                        <a:defRPr lang="nb-NO"/>
                      </a:defPPr>
                      <a:lvl1pPr marL="0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96232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92466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488701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984934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481171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977403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473635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969862" algn="l" defTabSz="992466" rtl="0" eaLnBrk="1" latinLnBrk="0" hangingPunct="1">
                        <a:defRPr sz="20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331" marR="91331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nb-NO" sz="900" dirty="0" smtClean="0">
                          <a:solidFill>
                            <a:schemeClr val="tx1"/>
                          </a:solidFill>
                        </a:rPr>
                        <a:t>Papir</a:t>
                      </a:r>
                      <a:endParaRPr lang="nb-NO" sz="9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Obstetrix</a:t>
                      </a: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 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8399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Agfa</a:t>
                      </a:r>
                    </a:p>
                  </a:txBody>
                  <a:tcPr marL="36000" marR="36000" marT="35998" marB="35998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5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ra</a:t>
                      </a:r>
                    </a:p>
                  </a:txBody>
                  <a:tcPr marL="36000" marR="36000" marT="35998" marB="35998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Uni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Uni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552"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kershus universitets-sykehus</a:t>
                      </a: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5"/>
                    </a:solidFill>
                  </a:tcPr>
                </a:tc>
                <a:tc rowSpan="2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iemen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40000"/>
                        <a:lumOff val="6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ocuLive Patolog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LabCraft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etaVision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dose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552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6405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unnaas sykehu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 dirty="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5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 dirty="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 dirty="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 dirty="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ltUpDiag">
                      <a:fgClr>
                        <a:srgbClr val="808080"/>
                      </a:fgClr>
                      <a:bgClr>
                        <a:srgbClr val="FFFFFF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ltUpDiag">
                      <a:fgClr>
                        <a:srgbClr val="808080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ltUpDiag">
                      <a:fgClr>
                        <a:srgbClr val="808080"/>
                      </a:fgClr>
                      <a:bgClr>
                        <a:srgbClr val="FFFFFF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6838"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Vestre Viken</a:t>
                      </a: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rowSpan="2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arestream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20000"/>
                        <a:lumOff val="8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lex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20000"/>
                        <a:lumOff val="80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icl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75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LabCraft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5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obimed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66FF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 (flere installasjoner)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anchor="ctr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271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iemen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3027"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ykehuset Innlandet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rowSpan="2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iemen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40000"/>
                        <a:lumOff val="60000"/>
                      </a:srgb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Analytix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LabCraft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0606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dose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302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62404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ykehuset Østfold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ra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Netlab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icl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2769"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ykehuset i Vestfold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 rowSpan="3"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ra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75000"/>
                      </a:srgbClr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Uni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66"/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icl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75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DocuLive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tologi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IC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75000"/>
                      </a:srgb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079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079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77290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ykehuset Telemark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IMx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Agfa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5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Flex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endParaRPr lang="nb-NO" sz="1800">
                        <a:latin typeface="+mn-lt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LabCraft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ytodose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8">
                        <a:lumMod val="20000"/>
                        <a:lumOff val="8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573676"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ørlandet sykehu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PS</a:t>
                      </a:r>
                      <a:b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</a:b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R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ectra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BACC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Unilab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Miclis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BBB59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Sympathy</a:t>
                      </a: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8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rosang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nb-NO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Diverse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Papir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</a:pPr>
                      <a:endParaRPr kumimoji="0" lang="nb-NO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mbria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60000"/>
                        </a:spcBef>
                        <a:spcAft>
                          <a:spcPct val="1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1049338" algn="l"/>
                        </a:tabLst>
                        <a:defRPr/>
                      </a:pPr>
                      <a:r>
                        <a:rPr kumimoji="0" lang="nb-NO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Partus</a:t>
                      </a:r>
                      <a:r>
                        <a:rPr kumimoji="0" lang="nb-NO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charset="0"/>
                        </a:rPr>
                        <a:t> (flere installasjoner)</a:t>
                      </a:r>
                    </a:p>
                  </a:txBody>
                  <a:tcPr marL="36000" marR="36000" marT="43895" marB="43895"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7AA88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6851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2991592" cy="5679415"/>
          </a:xfrm>
        </p:spPr>
        <p:txBody>
          <a:bodyPr/>
          <a:lstStyle/>
          <a:p>
            <a:r>
              <a:rPr lang="nb-NO" dirty="0" smtClean="0"/>
              <a:t>Information in </a:t>
            </a:r>
            <a:r>
              <a:rPr lang="nb-NO" dirty="0" err="1" smtClean="0"/>
              <a:t>the</a:t>
            </a:r>
            <a:r>
              <a:rPr lang="nb-NO" dirty="0" smtClean="0"/>
              <a:t> DIPS </a:t>
            </a:r>
            <a:r>
              <a:rPr lang="nb-NO" dirty="0" err="1" smtClean="0"/>
              <a:t>application</a:t>
            </a:r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3188" y="365125"/>
            <a:ext cx="7712381" cy="618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1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Flow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one</a:t>
            </a:r>
            <a:r>
              <a:rPr lang="nb-NO" dirty="0" smtClean="0"/>
              <a:t> type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information</a:t>
            </a:r>
            <a:r>
              <a:rPr lang="nb-NO" dirty="0" smtClean="0"/>
              <a:t> in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information</a:t>
            </a:r>
            <a:r>
              <a:rPr lang="nb-NO" dirty="0" smtClean="0"/>
              <a:t> systems in </a:t>
            </a:r>
            <a:r>
              <a:rPr lang="nb-NO" dirty="0" err="1" smtClean="0"/>
              <a:t>one</a:t>
            </a:r>
            <a:r>
              <a:rPr lang="nb-NO" dirty="0" smtClean="0"/>
              <a:t> hospital</a:t>
            </a:r>
            <a:endParaRPr lang="nb-NO" dirty="0"/>
          </a:p>
        </p:txBody>
      </p:sp>
      <p:pic>
        <p:nvPicPr>
          <p:cNvPr id="4" name="Bilde 7"/>
          <p:cNvPicPr/>
          <p:nvPr/>
        </p:nvPicPr>
        <p:blipFill>
          <a:blip r:embed="rId2"/>
          <a:stretch>
            <a:fillRect/>
          </a:stretch>
        </p:blipFill>
        <p:spPr>
          <a:xfrm>
            <a:off x="1757238" y="1594237"/>
            <a:ext cx="8436334" cy="5263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15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" y="-127856"/>
            <a:ext cx="10515600" cy="1325563"/>
          </a:xfrm>
        </p:spPr>
        <p:txBody>
          <a:bodyPr/>
          <a:lstStyle/>
          <a:p>
            <a:r>
              <a:rPr lang="nb-NO" dirty="0" smtClean="0"/>
              <a:t>DIPS </a:t>
            </a:r>
            <a:r>
              <a:rPr lang="nb-NO" dirty="0" err="1" smtClean="0"/>
              <a:t>integration</a:t>
            </a:r>
            <a:r>
              <a:rPr lang="nb-NO" dirty="0" smtClean="0"/>
              <a:t> </a:t>
            </a:r>
            <a:r>
              <a:rPr lang="nb-NO" dirty="0" err="1" smtClean="0"/>
              <a:t>overview</a:t>
            </a:r>
            <a:r>
              <a:rPr lang="nb-NO" dirty="0" smtClean="0"/>
              <a:t> for </a:t>
            </a:r>
            <a:r>
              <a:rPr lang="nb-NO" dirty="0" err="1" smtClean="0"/>
              <a:t>one</a:t>
            </a:r>
            <a:r>
              <a:rPr lang="nb-NO" dirty="0" smtClean="0"/>
              <a:t> hospital</a:t>
            </a:r>
            <a:endParaRPr lang="nb-NO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6305" y="878775"/>
            <a:ext cx="7840905" cy="568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26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om 2012: New regional strategy – cleaning the IT “mess”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1075126" cy="4351338"/>
          </a:xfrm>
        </p:spPr>
        <p:txBody>
          <a:bodyPr/>
          <a:lstStyle/>
          <a:p>
            <a:r>
              <a:rPr lang="en-US" dirty="0" smtClean="0"/>
              <a:t>Large investment programs to standardize and consolidate the largest IT systems</a:t>
            </a:r>
            <a:endParaRPr lang="en-US" dirty="0"/>
          </a:p>
          <a:p>
            <a:pPr lvl="1"/>
            <a:endParaRPr lang="en-US" dirty="0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673" y="3048452"/>
            <a:ext cx="4709769" cy="3128511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0183" y="3048452"/>
            <a:ext cx="4880618" cy="3128511"/>
          </a:xfrm>
          <a:prstGeom prst="rect">
            <a:avLst/>
          </a:prstGeom>
        </p:spPr>
      </p:pic>
      <p:cxnSp>
        <p:nvCxnSpPr>
          <p:cNvPr id="35" name="Straight Arrow Connector 34"/>
          <p:cNvCxnSpPr/>
          <p:nvPr/>
        </p:nvCxnSpPr>
        <p:spPr>
          <a:xfrm>
            <a:off x="5510128" y="4669584"/>
            <a:ext cx="818984" cy="0"/>
          </a:xfrm>
          <a:prstGeom prst="straightConnector1">
            <a:avLst/>
          </a:prstGeom>
          <a:ln w="762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2522079" y="6235991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2012</a:t>
            </a:r>
            <a:endParaRPr lang="nb-NO" dirty="0"/>
          </a:p>
        </p:txBody>
      </p:sp>
      <p:sp>
        <p:nvSpPr>
          <p:cNvPr id="37" name="TextBox 36"/>
          <p:cNvSpPr txBox="1"/>
          <p:nvPr/>
        </p:nvSpPr>
        <p:spPr>
          <a:xfrm>
            <a:off x="8990492" y="6240217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2024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930484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376" y="283106"/>
            <a:ext cx="10515600" cy="1325563"/>
          </a:xfrm>
        </p:spPr>
        <p:txBody>
          <a:bodyPr/>
          <a:lstStyle/>
          <a:p>
            <a:r>
              <a:rPr lang="en-US" dirty="0" smtClean="0"/>
              <a:t>From 2012: Governance</a:t>
            </a:r>
            <a:endParaRPr lang="en-US" dirty="0"/>
          </a:p>
        </p:txBody>
      </p:sp>
      <p:sp>
        <p:nvSpPr>
          <p:cNvPr id="5" name="Avrundet rektangel 37"/>
          <p:cNvSpPr>
            <a:spLocks/>
          </p:cNvSpPr>
          <p:nvPr>
            <p:custDataLst>
              <p:tags r:id="rId1"/>
            </p:custDataLst>
          </p:nvPr>
        </p:nvSpPr>
        <p:spPr>
          <a:xfrm flipH="1">
            <a:off x="3593943" y="4223747"/>
            <a:ext cx="4539343" cy="163541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83487" tIns="41741" rIns="83487" bIns="41741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endParaRPr lang="nb-NO" sz="700" kern="0" dirty="0">
              <a:solidFill>
                <a:srgbClr val="FFFFFF"/>
              </a:solidFill>
              <a:ea typeface="ＭＳ Ｐゴシック" charset="0"/>
              <a:cs typeface="Calibri"/>
            </a:endParaRPr>
          </a:p>
        </p:txBody>
      </p:sp>
      <p:sp>
        <p:nvSpPr>
          <p:cNvPr id="6" name="TextBox 49"/>
          <p:cNvSpPr txBox="1"/>
          <p:nvPr/>
        </p:nvSpPr>
        <p:spPr>
          <a:xfrm>
            <a:off x="4813008" y="4202974"/>
            <a:ext cx="1869391" cy="299741"/>
          </a:xfrm>
          <a:prstGeom prst="rect">
            <a:avLst/>
          </a:prstGeom>
          <a:noFill/>
          <a:effectLst/>
        </p:spPr>
        <p:txBody>
          <a:bodyPr wrap="none" lIns="83487" tIns="41741" rIns="83487" bIns="41741">
            <a:spAutoFit/>
          </a:bodyPr>
          <a:lstStyle/>
          <a:p>
            <a:pPr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 smtClean="0">
                <a:solidFill>
                  <a:srgbClr val="001944"/>
                </a:solidFill>
                <a:ea typeface="ＭＳ Ｐゴシック" charset="0"/>
                <a:cs typeface="Calibri"/>
              </a:rPr>
              <a:t>REGIONAL PROGRAMS</a:t>
            </a:r>
            <a:endParaRPr lang="en-US" sz="1400" b="1" kern="0" dirty="0">
              <a:solidFill>
                <a:srgbClr val="001944"/>
              </a:solidFill>
              <a:ea typeface="ＭＳ Ｐゴシック" charset="0"/>
              <a:cs typeface="Calibri"/>
            </a:endParaRPr>
          </a:p>
        </p:txBody>
      </p:sp>
      <p:cxnSp>
        <p:nvCxnSpPr>
          <p:cNvPr id="7" name="Straight Connector 63"/>
          <p:cNvCxnSpPr>
            <a:cxnSpLocks noChangeShapeType="1"/>
            <a:stCxn id="8" idx="2"/>
            <a:endCxn id="5" idx="0"/>
          </p:cNvCxnSpPr>
          <p:nvPr/>
        </p:nvCxnSpPr>
        <p:spPr bwMode="auto">
          <a:xfrm flipH="1">
            <a:off x="5863614" y="3158570"/>
            <a:ext cx="2" cy="1065177"/>
          </a:xfrm>
          <a:prstGeom prst="line">
            <a:avLst/>
          </a:prstGeom>
          <a:noFill/>
          <a:ln w="3175" algn="ctr">
            <a:solidFill>
              <a:schemeClr val="tx2">
                <a:lumMod val="75000"/>
              </a:schemeClr>
            </a:solidFill>
            <a:round/>
            <a:headEnd/>
            <a:tailEnd type="none" w="med" len="med"/>
          </a:ln>
        </p:spPr>
      </p:cxnSp>
      <p:sp>
        <p:nvSpPr>
          <p:cNvPr id="8" name="Avrundet rektangel 5"/>
          <p:cNvSpPr>
            <a:spLocks noChangeAspect="1"/>
          </p:cNvSpPr>
          <p:nvPr>
            <p:custDataLst>
              <p:tags r:id="rId2"/>
            </p:custDataLst>
          </p:nvPr>
        </p:nvSpPr>
        <p:spPr>
          <a:xfrm flipH="1">
            <a:off x="4938104" y="2741058"/>
            <a:ext cx="1851025" cy="41751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  <a:effectLst/>
        </p:spPr>
        <p:txBody>
          <a:bodyPr lIns="90889" tIns="45445" rIns="90889" bIns="45445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 smtClean="0">
                <a:solidFill>
                  <a:srgbClr val="FFFFFF"/>
                </a:solidFill>
                <a:ea typeface="ＭＳ Ｐゴシック" charset="0"/>
                <a:cs typeface="Calibri"/>
              </a:rPr>
              <a:t>AD Helse </a:t>
            </a:r>
            <a:r>
              <a:rPr lang="nb-NO" sz="1400" b="1" kern="0" dirty="0">
                <a:solidFill>
                  <a:srgbClr val="FFFFFF"/>
                </a:solidFill>
                <a:ea typeface="ＭＳ Ｐゴシック" charset="0"/>
                <a:cs typeface="Calibri"/>
              </a:rPr>
              <a:t>Sør-Øst RHF</a:t>
            </a:r>
          </a:p>
        </p:txBody>
      </p:sp>
      <p:sp>
        <p:nvSpPr>
          <p:cNvPr id="9" name="Avrundet rektangel 5"/>
          <p:cNvSpPr/>
          <p:nvPr>
            <p:custDataLst>
              <p:tags r:id="rId3"/>
            </p:custDataLst>
          </p:nvPr>
        </p:nvSpPr>
        <p:spPr>
          <a:xfrm flipH="1">
            <a:off x="5174469" y="4504718"/>
            <a:ext cx="1368000" cy="698127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txBody>
          <a:bodyPr lIns="91361" tIns="45681" rIns="91361" bIns="45681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 smtClean="0">
                <a:solidFill>
                  <a:srgbClr val="FFFFFF"/>
                </a:solidFill>
                <a:ea typeface="ＭＳ Ｐゴシック" charset="0"/>
                <a:cs typeface="Calibri"/>
              </a:rPr>
              <a:t>Virksomhets-styring</a:t>
            </a:r>
            <a:r>
              <a:rPr lang="nb-NO" sz="900" b="1" kern="0" dirty="0" smtClean="0">
                <a:solidFill>
                  <a:srgbClr val="FFFFFF"/>
                </a:solidFill>
                <a:ea typeface="ＭＳ Ｐゴシック" charset="0"/>
                <a:cs typeface="Calibri"/>
              </a:rPr>
              <a:t> </a:t>
            </a:r>
          </a:p>
        </p:txBody>
      </p:sp>
      <p:sp>
        <p:nvSpPr>
          <p:cNvPr id="10" name="Avrundet rektangel 5"/>
          <p:cNvSpPr/>
          <p:nvPr>
            <p:custDataLst>
              <p:tags r:id="rId4"/>
            </p:custDataLst>
          </p:nvPr>
        </p:nvSpPr>
        <p:spPr>
          <a:xfrm flipH="1">
            <a:off x="3687557" y="4504718"/>
            <a:ext cx="1368000" cy="698128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txBody>
          <a:bodyPr lIns="91361" tIns="45681" rIns="91361" bIns="45681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 smtClean="0">
                <a:solidFill>
                  <a:srgbClr val="FFFFFF"/>
                </a:solidFill>
                <a:ea typeface="ＭＳ Ｐゴシック" charset="0"/>
                <a:cs typeface="Calibri"/>
              </a:rPr>
              <a:t>Regional</a:t>
            </a:r>
          </a:p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 smtClean="0">
                <a:solidFill>
                  <a:srgbClr val="FFFFFF"/>
                </a:solidFill>
                <a:ea typeface="ＭＳ Ｐゴシック" charset="0"/>
                <a:cs typeface="Calibri"/>
              </a:rPr>
              <a:t>klinisk løsning</a:t>
            </a:r>
          </a:p>
        </p:txBody>
      </p:sp>
      <p:grpSp>
        <p:nvGrpSpPr>
          <p:cNvPr id="11" name="Gruppe 2"/>
          <p:cNvGrpSpPr/>
          <p:nvPr/>
        </p:nvGrpSpPr>
        <p:grpSpPr>
          <a:xfrm>
            <a:off x="3687557" y="5368914"/>
            <a:ext cx="1368004" cy="338509"/>
            <a:chOff x="199830" y="5333177"/>
            <a:chExt cx="912049" cy="33850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2" name="Avrundet rektangel 5"/>
            <p:cNvSpPr/>
            <p:nvPr/>
          </p:nvSpPr>
          <p:spPr>
            <a:xfrm flipH="1">
              <a:off x="199830" y="5333177"/>
              <a:ext cx="680169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ln>
                  <a:solidFill>
                    <a:srgbClr val="003283"/>
                  </a:solidFill>
                </a:ln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13" name="Avrundet rektangel 5"/>
            <p:cNvSpPr/>
            <p:nvPr/>
          </p:nvSpPr>
          <p:spPr>
            <a:xfrm flipH="1">
              <a:off x="315770" y="5381535"/>
              <a:ext cx="680169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14" name="Avrundet rektangel 5"/>
            <p:cNvSpPr/>
            <p:nvPr/>
          </p:nvSpPr>
          <p:spPr>
            <a:xfrm flipH="1">
              <a:off x="431710" y="5429894"/>
              <a:ext cx="680169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kern="0" dirty="0">
                  <a:solidFill>
                    <a:srgbClr val="003388">
                      <a:lumMod val="50000"/>
                    </a:srgbClr>
                  </a:solidFill>
                  <a:ea typeface="ＭＳ Ｐゴシック" charset="0"/>
                  <a:cs typeface="Calibri"/>
                </a:rPr>
                <a:t>Prosjekter</a:t>
              </a:r>
            </a:p>
          </p:txBody>
        </p:sp>
      </p:grpSp>
      <p:grpSp>
        <p:nvGrpSpPr>
          <p:cNvPr id="15" name="Gruppe 100"/>
          <p:cNvGrpSpPr/>
          <p:nvPr/>
        </p:nvGrpSpPr>
        <p:grpSpPr>
          <a:xfrm>
            <a:off x="5174474" y="5368914"/>
            <a:ext cx="1367995" cy="338509"/>
            <a:chOff x="1194398" y="5333177"/>
            <a:chExt cx="887452" cy="33850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6" name="Avrundet rektangel 5"/>
            <p:cNvSpPr/>
            <p:nvPr/>
          </p:nvSpPr>
          <p:spPr>
            <a:xfrm flipH="1">
              <a:off x="1194398" y="5333177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17" name="Avrundet rektangel 5"/>
            <p:cNvSpPr/>
            <p:nvPr/>
          </p:nvSpPr>
          <p:spPr>
            <a:xfrm flipH="1">
              <a:off x="1310338" y="5381535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18" name="Avrundet rektangel 5"/>
            <p:cNvSpPr/>
            <p:nvPr/>
          </p:nvSpPr>
          <p:spPr>
            <a:xfrm flipH="1">
              <a:off x="1426278" y="5429894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kern="0" dirty="0">
                  <a:solidFill>
                    <a:srgbClr val="003388">
                      <a:lumMod val="50000"/>
                    </a:srgbClr>
                  </a:solidFill>
                  <a:ea typeface="ＭＳ Ｐゴシック" charset="0"/>
                  <a:cs typeface="Calibri"/>
                </a:rPr>
                <a:t>Prosjekter</a:t>
              </a:r>
            </a:p>
          </p:txBody>
        </p:sp>
      </p:grpSp>
      <p:sp>
        <p:nvSpPr>
          <p:cNvPr id="19" name="Avrundet rektangel 5"/>
          <p:cNvSpPr>
            <a:spLocks noChangeAspect="1"/>
          </p:cNvSpPr>
          <p:nvPr>
            <p:custDataLst>
              <p:tags r:id="rId5"/>
            </p:custDataLst>
          </p:nvPr>
        </p:nvSpPr>
        <p:spPr>
          <a:xfrm flipH="1">
            <a:off x="4932956" y="2066068"/>
            <a:ext cx="1851025" cy="41751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  <a:effectLst/>
        </p:spPr>
        <p:txBody>
          <a:bodyPr lIns="90889" tIns="45445" rIns="90889" bIns="45445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 smtClean="0">
                <a:solidFill>
                  <a:srgbClr val="FFFFFF"/>
                </a:solidFill>
                <a:ea typeface="ＭＳ Ｐゴシック" charset="0"/>
                <a:cs typeface="Calibri"/>
              </a:rPr>
              <a:t>Styret i Helse Sør-Øst</a:t>
            </a:r>
            <a:endParaRPr lang="nb-NO" sz="1400" b="1" kern="0" dirty="0">
              <a:solidFill>
                <a:srgbClr val="FFFFFF"/>
              </a:solidFill>
              <a:ea typeface="ＭＳ Ｐゴシック" charset="0"/>
              <a:cs typeface="Calibri"/>
            </a:endParaRPr>
          </a:p>
        </p:txBody>
      </p:sp>
      <p:cxnSp>
        <p:nvCxnSpPr>
          <p:cNvPr id="20" name="Rett linje 69"/>
          <p:cNvCxnSpPr>
            <a:stCxn id="19" idx="2"/>
            <a:endCxn id="8" idx="0"/>
          </p:cNvCxnSpPr>
          <p:nvPr/>
        </p:nvCxnSpPr>
        <p:spPr>
          <a:xfrm>
            <a:off x="5858468" y="2483580"/>
            <a:ext cx="5148" cy="257478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vrundet rektangel 5"/>
          <p:cNvSpPr/>
          <p:nvPr>
            <p:custDataLst>
              <p:tags r:id="rId6"/>
            </p:custDataLst>
          </p:nvPr>
        </p:nvSpPr>
        <p:spPr>
          <a:xfrm flipH="1">
            <a:off x="6625616" y="4504717"/>
            <a:ext cx="1368000" cy="698127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txBody>
          <a:bodyPr lIns="91361" tIns="45681" rIns="91361" bIns="45681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 smtClean="0">
                <a:solidFill>
                  <a:srgbClr val="FFFFFF"/>
                </a:solidFill>
                <a:ea typeface="ＭＳ Ｐゴシック" charset="0"/>
                <a:cs typeface="Calibri"/>
              </a:rPr>
              <a:t>Regional IKT for forskning</a:t>
            </a:r>
          </a:p>
        </p:txBody>
      </p:sp>
      <p:grpSp>
        <p:nvGrpSpPr>
          <p:cNvPr id="22" name="Gruppe 100"/>
          <p:cNvGrpSpPr/>
          <p:nvPr/>
        </p:nvGrpSpPr>
        <p:grpSpPr>
          <a:xfrm>
            <a:off x="6625621" y="5368913"/>
            <a:ext cx="1367995" cy="338509"/>
            <a:chOff x="1194398" y="5333177"/>
            <a:chExt cx="887452" cy="33850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3" name="Avrundet rektangel 5"/>
            <p:cNvSpPr/>
            <p:nvPr/>
          </p:nvSpPr>
          <p:spPr>
            <a:xfrm flipH="1">
              <a:off x="1194398" y="5333177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24" name="Avrundet rektangel 5"/>
            <p:cNvSpPr/>
            <p:nvPr/>
          </p:nvSpPr>
          <p:spPr>
            <a:xfrm flipH="1">
              <a:off x="1310338" y="5381535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900" kern="0" dirty="0">
                <a:solidFill>
                  <a:srgbClr val="003388">
                    <a:lumMod val="50000"/>
                  </a:srgbClr>
                </a:solidFill>
                <a:ea typeface="ＭＳ Ｐゴシック" charset="0"/>
                <a:cs typeface="Calibri"/>
              </a:endParaRPr>
            </a:p>
          </p:txBody>
        </p:sp>
        <p:sp>
          <p:nvSpPr>
            <p:cNvPr id="25" name="Avrundet rektangel 5"/>
            <p:cNvSpPr/>
            <p:nvPr/>
          </p:nvSpPr>
          <p:spPr>
            <a:xfrm flipH="1">
              <a:off x="1426278" y="5429894"/>
              <a:ext cx="655572" cy="241792"/>
            </a:xfrm>
            <a:prstGeom prst="roundRect">
              <a:avLst/>
            </a:prstGeom>
            <a:grpFill/>
            <a:ln w="9525">
              <a:noFill/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090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kern="0" dirty="0">
                  <a:solidFill>
                    <a:srgbClr val="003388">
                      <a:lumMod val="50000"/>
                    </a:srgbClr>
                  </a:solidFill>
                  <a:ea typeface="ＭＳ Ｐゴシック" charset="0"/>
                  <a:cs typeface="Calibri"/>
                </a:rPr>
                <a:t>Prosjekter</a:t>
              </a:r>
            </a:p>
          </p:txBody>
        </p:sp>
      </p:grpSp>
      <p:sp>
        <p:nvSpPr>
          <p:cNvPr id="26" name="Avrundet rektangel 5"/>
          <p:cNvSpPr>
            <a:spLocks noChangeAspect="1"/>
          </p:cNvSpPr>
          <p:nvPr>
            <p:custDataLst>
              <p:tags r:id="rId7"/>
            </p:custDataLst>
          </p:nvPr>
        </p:nvSpPr>
        <p:spPr>
          <a:xfrm flipH="1">
            <a:off x="3577195" y="3479226"/>
            <a:ext cx="1845876" cy="423863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75000"/>
              </a:schemeClr>
            </a:solidFill>
          </a:ln>
          <a:effectLst/>
        </p:spPr>
        <p:txBody>
          <a:bodyPr lIns="90889" tIns="45445" rIns="90889" bIns="45445" anchor="ctr"/>
          <a:lstStyle/>
          <a:p>
            <a:pPr algn="ctr" defTabSz="90906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400" b="1" kern="0" dirty="0" smtClean="0">
                <a:solidFill>
                  <a:srgbClr val="FFFFFF"/>
                </a:solidFill>
                <a:ea typeface="ＭＳ Ｐゴシック" charset="0"/>
                <a:cs typeface="Calibri"/>
              </a:rPr>
              <a:t>Programkontor</a:t>
            </a:r>
            <a:endParaRPr lang="nb-NO" sz="1400" b="1" kern="0" dirty="0">
              <a:solidFill>
                <a:srgbClr val="FFFFFF"/>
              </a:solidFill>
              <a:ea typeface="ＭＳ Ｐゴシック" charset="0"/>
              <a:cs typeface="Calibri"/>
            </a:endParaRPr>
          </a:p>
        </p:txBody>
      </p:sp>
      <p:sp>
        <p:nvSpPr>
          <p:cNvPr id="27" name="Ellipse 77"/>
          <p:cNvSpPr/>
          <p:nvPr/>
        </p:nvSpPr>
        <p:spPr>
          <a:xfrm>
            <a:off x="3582216" y="4565378"/>
            <a:ext cx="1578681" cy="59166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cxnSp>
        <p:nvCxnSpPr>
          <p:cNvPr id="28" name="Rett pil 6"/>
          <p:cNvCxnSpPr>
            <a:stCxn id="19" idx="2"/>
            <a:endCxn id="8" idx="0"/>
          </p:cNvCxnSpPr>
          <p:nvPr/>
        </p:nvCxnSpPr>
        <p:spPr>
          <a:xfrm>
            <a:off x="5858468" y="2483580"/>
            <a:ext cx="5148" cy="2574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Rett pil 8"/>
          <p:cNvCxnSpPr>
            <a:stCxn id="8" idx="2"/>
            <a:endCxn id="5" idx="0"/>
          </p:cNvCxnSpPr>
          <p:nvPr/>
        </p:nvCxnSpPr>
        <p:spPr>
          <a:xfrm flipH="1">
            <a:off x="5863614" y="3158570"/>
            <a:ext cx="2" cy="106517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linje 10"/>
          <p:cNvCxnSpPr>
            <a:endCxn id="26" idx="1"/>
          </p:cNvCxnSpPr>
          <p:nvPr/>
        </p:nvCxnSpPr>
        <p:spPr>
          <a:xfrm flipH="1">
            <a:off x="5423071" y="3691158"/>
            <a:ext cx="4353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2798576" y="1676779"/>
            <a:ext cx="6273579" cy="44845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24553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0" y="505097"/>
            <a:ext cx="5826034" cy="964380"/>
          </a:xfrm>
        </p:spPr>
        <p:txBody>
          <a:bodyPr>
            <a:normAutofit/>
          </a:bodyPr>
          <a:lstStyle/>
          <a:p>
            <a:r>
              <a:rPr lang="en-US" dirty="0" smtClean="0"/>
              <a:t>From 2012: Governance</a:t>
            </a:r>
            <a:endParaRPr lang="nb-NO" dirty="0"/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2279103" y="333320"/>
          <a:ext cx="8892480" cy="619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080184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Theme</a:t>
            </a:r>
            <a:r>
              <a:rPr lang="nb-NO" dirty="0" smtClean="0"/>
              <a:t> – </a:t>
            </a:r>
            <a:r>
              <a:rPr lang="nb-NO" dirty="0" err="1"/>
              <a:t>G</a:t>
            </a:r>
            <a:r>
              <a:rPr lang="nb-NO" dirty="0" err="1" smtClean="0"/>
              <a:t>overning</a:t>
            </a:r>
            <a:r>
              <a:rPr lang="nb-NO" dirty="0" smtClean="0"/>
              <a:t> standards in </a:t>
            </a:r>
            <a:r>
              <a:rPr lang="nb-NO" dirty="0" err="1" smtClean="0"/>
              <a:t>complex</a:t>
            </a:r>
            <a:r>
              <a:rPr lang="nb-NO" dirty="0" smtClean="0"/>
              <a:t> </a:t>
            </a:r>
            <a:r>
              <a:rPr lang="nb-NO" dirty="0" err="1" smtClean="0"/>
              <a:t>organiz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Goals for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lecture</a:t>
            </a:r>
            <a:endParaRPr lang="nb-NO" dirty="0" smtClean="0"/>
          </a:p>
          <a:p>
            <a:pPr lvl="1"/>
            <a:r>
              <a:rPr lang="nb-NO" dirty="0" smtClean="0"/>
              <a:t>Present a case from </a:t>
            </a:r>
            <a:r>
              <a:rPr lang="nb-NO" dirty="0" err="1" smtClean="0"/>
              <a:t>the</a:t>
            </a:r>
            <a:r>
              <a:rPr lang="nb-NO" dirty="0" smtClean="0"/>
              <a:t> Norwegian </a:t>
            </a:r>
            <a:r>
              <a:rPr lang="nb-NO" dirty="0" err="1" smtClean="0"/>
              <a:t>healthcare</a:t>
            </a:r>
            <a:r>
              <a:rPr lang="nb-NO" dirty="0" smtClean="0"/>
              <a:t> </a:t>
            </a:r>
            <a:r>
              <a:rPr lang="nb-NO" dirty="0" err="1" smtClean="0"/>
              <a:t>sector</a:t>
            </a:r>
            <a:r>
              <a:rPr lang="nb-NO" dirty="0" smtClean="0"/>
              <a:t> (</a:t>
            </a:r>
            <a:r>
              <a:rPr lang="nb-NO" dirty="0" err="1" smtClean="0"/>
              <a:t>specifically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South East Health Region) </a:t>
            </a:r>
            <a:r>
              <a:rPr lang="nb-NO" dirty="0" err="1" smtClean="0"/>
              <a:t>about</a:t>
            </a:r>
            <a:r>
              <a:rPr lang="nb-NO" dirty="0" smtClean="0"/>
              <a:t> </a:t>
            </a:r>
            <a:r>
              <a:rPr lang="nb-NO" dirty="0" err="1" smtClean="0"/>
              <a:t>change</a:t>
            </a:r>
            <a:r>
              <a:rPr lang="nb-NO" dirty="0" smtClean="0"/>
              <a:t> from a top-</a:t>
            </a:r>
            <a:r>
              <a:rPr lang="nb-NO" dirty="0" err="1" smtClean="0"/>
              <a:t>down</a:t>
            </a:r>
            <a:r>
              <a:rPr lang="nb-NO" dirty="0" smtClean="0"/>
              <a:t> to a </a:t>
            </a:r>
            <a:r>
              <a:rPr lang="nb-NO" dirty="0" err="1" smtClean="0"/>
              <a:t>networked</a:t>
            </a:r>
            <a:r>
              <a:rPr lang="nb-NO" dirty="0" smtClean="0"/>
              <a:t> regime for e-</a:t>
            </a:r>
            <a:r>
              <a:rPr lang="nb-NO" dirty="0" err="1" smtClean="0"/>
              <a:t>health</a:t>
            </a:r>
            <a:r>
              <a:rPr lang="nb-NO" dirty="0" smtClean="0"/>
              <a:t> standards </a:t>
            </a:r>
            <a:r>
              <a:rPr lang="nb-NO" dirty="0" err="1" smtClean="0"/>
              <a:t>governance</a:t>
            </a:r>
            <a:r>
              <a:rPr lang="nb-NO" dirty="0" smtClean="0"/>
              <a:t>.</a:t>
            </a:r>
          </a:p>
          <a:p>
            <a:pPr lvl="1"/>
            <a:r>
              <a:rPr lang="nb-NO" dirty="0" smtClean="0"/>
              <a:t>Show </a:t>
            </a:r>
            <a:r>
              <a:rPr lang="nb-NO" dirty="0" err="1" smtClean="0"/>
              <a:t>how</a:t>
            </a:r>
            <a:r>
              <a:rPr lang="nb-NO" dirty="0" smtClean="0"/>
              <a:t> </a:t>
            </a:r>
            <a:r>
              <a:rPr lang="nb-NO" dirty="0" err="1" smtClean="0"/>
              <a:t>this</a:t>
            </a:r>
            <a:r>
              <a:rPr lang="nb-NO" dirty="0" smtClean="0"/>
              <a:t> </a:t>
            </a:r>
            <a:r>
              <a:rPr lang="nb-NO" dirty="0" err="1" smtClean="0"/>
              <a:t>change</a:t>
            </a:r>
            <a:r>
              <a:rPr lang="nb-NO" dirty="0" smtClean="0"/>
              <a:t> </a:t>
            </a:r>
            <a:r>
              <a:rPr lang="nb-NO" dirty="0" err="1" smtClean="0"/>
              <a:t>enables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region to handle </a:t>
            </a:r>
            <a:r>
              <a:rPr lang="nb-NO" dirty="0" err="1" smtClean="0"/>
              <a:t>complexity</a:t>
            </a:r>
            <a:r>
              <a:rPr lang="nb-NO" dirty="0" smtClean="0"/>
              <a:t> in standards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better</a:t>
            </a:r>
            <a:r>
              <a:rPr lang="nb-NO" dirty="0" smtClean="0"/>
              <a:t> </a:t>
            </a:r>
            <a:r>
              <a:rPr lang="nb-NO" dirty="0" err="1" smtClean="0"/>
              <a:t>than</a:t>
            </a:r>
            <a:r>
              <a:rPr lang="nb-NO" dirty="0" smtClean="0"/>
              <a:t> </a:t>
            </a:r>
            <a:r>
              <a:rPr lang="nb-NO" dirty="0" err="1" smtClean="0"/>
              <a:t>before</a:t>
            </a:r>
            <a:endParaRPr lang="nb-NO" dirty="0" smtClean="0"/>
          </a:p>
          <a:p>
            <a:pPr lvl="1"/>
            <a:endParaRPr lang="nb-NO" dirty="0"/>
          </a:p>
          <a:p>
            <a:r>
              <a:rPr lang="nb-NO" dirty="0" smtClean="0"/>
              <a:t>Learning </a:t>
            </a:r>
            <a:r>
              <a:rPr lang="nb-NO" dirty="0" err="1" smtClean="0"/>
              <a:t>outcome</a:t>
            </a:r>
            <a:r>
              <a:rPr lang="nb-NO" dirty="0" smtClean="0"/>
              <a:t>:</a:t>
            </a:r>
          </a:p>
          <a:p>
            <a:pPr lvl="1"/>
            <a:r>
              <a:rPr lang="nb-NO" dirty="0" smtClean="0"/>
              <a:t>Insight in </a:t>
            </a:r>
            <a:r>
              <a:rPr lang="nb-NO" dirty="0" err="1" smtClean="0"/>
              <a:t>standardization</a:t>
            </a:r>
            <a:r>
              <a:rPr lang="nb-NO" dirty="0" smtClean="0"/>
              <a:t> </a:t>
            </a:r>
            <a:r>
              <a:rPr lang="nb-NO" dirty="0" err="1" smtClean="0"/>
              <a:t>challenges</a:t>
            </a:r>
            <a:r>
              <a:rPr lang="nb-NO" dirty="0" smtClean="0"/>
              <a:t> in </a:t>
            </a:r>
            <a:r>
              <a:rPr lang="nb-NO" dirty="0" err="1" smtClean="0"/>
              <a:t>complex</a:t>
            </a:r>
            <a:r>
              <a:rPr lang="nb-NO" dirty="0" smtClean="0"/>
              <a:t> </a:t>
            </a:r>
            <a:r>
              <a:rPr lang="nb-NO" dirty="0" err="1" smtClean="0"/>
              <a:t>organizations</a:t>
            </a:r>
            <a:endParaRPr lang="nb-NO" dirty="0" smtClean="0"/>
          </a:p>
          <a:p>
            <a:pPr lvl="1"/>
            <a:r>
              <a:rPr lang="nb-NO" dirty="0" smtClean="0"/>
              <a:t>How </a:t>
            </a:r>
            <a:r>
              <a:rPr lang="nb-NO" dirty="0" err="1" smtClean="0"/>
              <a:t>one</a:t>
            </a:r>
            <a:r>
              <a:rPr lang="nb-NO" dirty="0" smtClean="0"/>
              <a:t> </a:t>
            </a:r>
            <a:r>
              <a:rPr lang="nb-NO" dirty="0" err="1" smtClean="0"/>
              <a:t>health</a:t>
            </a:r>
            <a:r>
              <a:rPr lang="nb-NO" dirty="0" smtClean="0"/>
              <a:t> region in Norway </a:t>
            </a:r>
            <a:r>
              <a:rPr lang="nb-NO" dirty="0" err="1" smtClean="0"/>
              <a:t>tries</a:t>
            </a:r>
            <a:r>
              <a:rPr lang="nb-NO" dirty="0" smtClean="0"/>
              <a:t> to </a:t>
            </a:r>
            <a:r>
              <a:rPr lang="nb-NO" dirty="0" err="1" smtClean="0"/>
              <a:t>deal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</a:t>
            </a:r>
            <a:r>
              <a:rPr lang="nb-NO" dirty="0" err="1" smtClean="0"/>
              <a:t>its</a:t>
            </a:r>
            <a:r>
              <a:rPr lang="nb-NO" dirty="0" smtClean="0"/>
              <a:t> </a:t>
            </a:r>
            <a:r>
              <a:rPr lang="nb-NO" dirty="0" err="1" smtClean="0"/>
              <a:t>complex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3990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Challen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dirty="0" err="1" smtClean="0"/>
              <a:t>Typically</a:t>
            </a:r>
            <a:r>
              <a:rPr lang="nb-NO" dirty="0" smtClean="0"/>
              <a:t> </a:t>
            </a:r>
            <a:r>
              <a:rPr lang="nb-NO" dirty="0" err="1" smtClean="0"/>
              <a:t>one</a:t>
            </a:r>
            <a:r>
              <a:rPr lang="nb-NO" dirty="0" smtClean="0"/>
              <a:t> IT system per </a:t>
            </a:r>
            <a:r>
              <a:rPr lang="nb-NO" dirty="0" err="1" smtClean="0"/>
              <a:t>project</a:t>
            </a:r>
            <a:endParaRPr lang="nb-NO" dirty="0" smtClean="0"/>
          </a:p>
          <a:p>
            <a:pPr lvl="1"/>
            <a:r>
              <a:rPr lang="nb-NO" dirty="0" err="1" smtClean="0"/>
              <a:t>Decision</a:t>
            </a:r>
            <a:r>
              <a:rPr lang="nb-NO" dirty="0" smtClean="0"/>
              <a:t> </a:t>
            </a:r>
            <a:r>
              <a:rPr lang="nb-NO" dirty="0" err="1" smtClean="0"/>
              <a:t>making</a:t>
            </a:r>
            <a:r>
              <a:rPr lang="nb-NO" dirty="0" smtClean="0"/>
              <a:t> </a:t>
            </a:r>
            <a:r>
              <a:rPr lang="nb-NO" dirty="0" err="1" smtClean="0"/>
              <a:t>structures</a:t>
            </a:r>
            <a:r>
              <a:rPr lang="nb-NO" dirty="0" smtClean="0"/>
              <a:t> for </a:t>
            </a:r>
            <a:r>
              <a:rPr lang="nb-NO" dirty="0" err="1" smtClean="0"/>
              <a:t>each</a:t>
            </a:r>
            <a:r>
              <a:rPr lang="nb-NO" dirty="0" smtClean="0"/>
              <a:t> </a:t>
            </a:r>
            <a:r>
              <a:rPr lang="nb-NO" dirty="0" err="1" smtClean="0"/>
              <a:t>project</a:t>
            </a:r>
            <a:endParaRPr lang="nb-NO" dirty="0" smtClean="0"/>
          </a:p>
          <a:p>
            <a:pPr lvl="1"/>
            <a:r>
              <a:rPr lang="nb-NO" dirty="0" err="1" smtClean="0"/>
              <a:t>Standardization</a:t>
            </a:r>
            <a:r>
              <a:rPr lang="nb-NO" dirty="0" smtClean="0"/>
              <a:t> </a:t>
            </a:r>
            <a:r>
              <a:rPr lang="nb-NO" dirty="0" err="1" smtClean="0"/>
              <a:t>looked</a:t>
            </a:r>
            <a:r>
              <a:rPr lang="nb-NO" dirty="0" smtClean="0"/>
              <a:t> </a:t>
            </a:r>
            <a:r>
              <a:rPr lang="nb-NO" dirty="0" err="1" smtClean="0"/>
              <a:t>upon</a:t>
            </a:r>
            <a:r>
              <a:rPr lang="nb-NO" dirty="0" smtClean="0"/>
              <a:t> from an IT </a:t>
            </a:r>
            <a:r>
              <a:rPr lang="nb-NO" dirty="0" err="1" smtClean="0"/>
              <a:t>perspective</a:t>
            </a:r>
            <a:endParaRPr lang="nb-NO" dirty="0" smtClean="0"/>
          </a:p>
          <a:p>
            <a:pPr lvl="1"/>
            <a:r>
              <a:rPr lang="nb-NO" dirty="0" smtClean="0"/>
              <a:t>Project </a:t>
            </a:r>
            <a:r>
              <a:rPr lang="nb-NO" dirty="0" err="1" smtClean="0"/>
              <a:t>tries</a:t>
            </a:r>
            <a:r>
              <a:rPr lang="nb-NO" dirty="0" smtClean="0"/>
              <a:t> to </a:t>
            </a:r>
            <a:r>
              <a:rPr lang="nb-NO" dirty="0" err="1" smtClean="0"/>
              <a:t>decide</a:t>
            </a:r>
            <a:r>
              <a:rPr lang="nb-NO" dirty="0" smtClean="0"/>
              <a:t> </a:t>
            </a:r>
            <a:r>
              <a:rPr lang="nb-NO" dirty="0" err="1" smtClean="0"/>
              <a:t>upon</a:t>
            </a:r>
            <a:r>
              <a:rPr lang="nb-NO" dirty="0" smtClean="0"/>
              <a:t> standards – far </a:t>
            </a:r>
            <a:r>
              <a:rPr lang="nb-NO" dirty="0" err="1" smtClean="0"/>
              <a:t>away</a:t>
            </a:r>
            <a:r>
              <a:rPr lang="nb-NO" dirty="0" smtClean="0"/>
              <a:t> from </a:t>
            </a:r>
            <a:r>
              <a:rPr lang="nb-NO" dirty="0" err="1" smtClean="0"/>
              <a:t>clinical</a:t>
            </a:r>
            <a:r>
              <a:rPr lang="nb-NO" dirty="0" smtClean="0"/>
              <a:t> </a:t>
            </a:r>
            <a:r>
              <a:rPr lang="nb-NO" dirty="0" err="1" smtClean="0"/>
              <a:t>practice</a:t>
            </a:r>
            <a:endParaRPr lang="nb-NO" dirty="0"/>
          </a:p>
          <a:p>
            <a:pPr lvl="1"/>
            <a:r>
              <a:rPr lang="nb-NO" dirty="0" err="1" smtClean="0"/>
              <a:t>Assistance</a:t>
            </a:r>
            <a:r>
              <a:rPr lang="nb-NO" dirty="0" smtClean="0"/>
              <a:t> from </a:t>
            </a:r>
            <a:r>
              <a:rPr lang="nb-NO" dirty="0" err="1" smtClean="0"/>
              <a:t>clinical</a:t>
            </a:r>
            <a:r>
              <a:rPr lang="nb-NO" dirty="0" smtClean="0"/>
              <a:t> </a:t>
            </a:r>
            <a:r>
              <a:rPr lang="nb-NO" dirty="0" err="1" smtClean="0"/>
              <a:t>experts</a:t>
            </a:r>
            <a:r>
              <a:rPr lang="nb-NO" dirty="0" smtClean="0"/>
              <a:t>, </a:t>
            </a:r>
            <a:r>
              <a:rPr lang="nb-NO" dirty="0" err="1" smtClean="0"/>
              <a:t>but</a:t>
            </a:r>
            <a:r>
              <a:rPr lang="nb-NO" dirty="0" smtClean="0"/>
              <a:t> </a:t>
            </a:r>
            <a:r>
              <a:rPr lang="nb-NO" dirty="0" err="1" smtClean="0"/>
              <a:t>unclear</a:t>
            </a:r>
            <a:r>
              <a:rPr lang="nb-NO" dirty="0" smtClean="0"/>
              <a:t> </a:t>
            </a:r>
            <a:r>
              <a:rPr lang="nb-NO" dirty="0" err="1" smtClean="0"/>
              <a:t>decision</a:t>
            </a:r>
            <a:r>
              <a:rPr lang="nb-NO" dirty="0" smtClean="0"/>
              <a:t> </a:t>
            </a:r>
            <a:r>
              <a:rPr lang="nb-NO" dirty="0" err="1" smtClean="0"/>
              <a:t>making</a:t>
            </a:r>
            <a:r>
              <a:rPr lang="nb-NO" dirty="0" smtClean="0"/>
              <a:t> </a:t>
            </a:r>
            <a:r>
              <a:rPr lang="nb-NO" dirty="0" err="1" smtClean="0"/>
              <a:t>power</a:t>
            </a:r>
            <a:endParaRPr lang="nb-NO" dirty="0" smtClean="0"/>
          </a:p>
          <a:p>
            <a:r>
              <a:rPr lang="nb-NO" dirty="0" err="1"/>
              <a:t>M</a:t>
            </a:r>
            <a:r>
              <a:rPr lang="nb-NO" dirty="0" err="1" smtClean="0"/>
              <a:t>any</a:t>
            </a:r>
            <a:r>
              <a:rPr lang="nb-NO" dirty="0" smtClean="0"/>
              <a:t> </a:t>
            </a:r>
            <a:r>
              <a:rPr lang="nb-NO" dirty="0" err="1" smtClean="0"/>
              <a:t>dependencies</a:t>
            </a:r>
            <a:r>
              <a:rPr lang="nb-NO" dirty="0" smtClean="0"/>
              <a:t> - </a:t>
            </a:r>
            <a:r>
              <a:rPr lang="nb-NO" dirty="0" err="1" smtClean="0"/>
              <a:t>projects</a:t>
            </a:r>
            <a:r>
              <a:rPr lang="nb-NO" dirty="0" smtClean="0"/>
              <a:t> - IT systems - </a:t>
            </a:r>
            <a:r>
              <a:rPr lang="nb-NO" dirty="0" err="1" smtClean="0"/>
              <a:t>clinical</a:t>
            </a:r>
            <a:r>
              <a:rPr lang="nb-NO" dirty="0" smtClean="0"/>
              <a:t> </a:t>
            </a:r>
            <a:r>
              <a:rPr lang="nb-NO" dirty="0" err="1" smtClean="0"/>
              <a:t>practice</a:t>
            </a:r>
            <a:endParaRPr lang="nb-NO" dirty="0" smtClean="0"/>
          </a:p>
          <a:p>
            <a:pPr lvl="1"/>
            <a:r>
              <a:rPr lang="nb-NO" dirty="0" smtClean="0"/>
              <a:t>For </a:t>
            </a:r>
            <a:r>
              <a:rPr lang="nb-NO" dirty="0" err="1" smtClean="0"/>
              <a:t>instance</a:t>
            </a:r>
            <a:r>
              <a:rPr lang="nb-NO" dirty="0" smtClean="0"/>
              <a:t> 91 IT systems </a:t>
            </a:r>
            <a:r>
              <a:rPr lang="nb-NO" dirty="0" err="1" smtClean="0"/>
              <a:t>involved</a:t>
            </a:r>
            <a:r>
              <a:rPr lang="nb-NO" dirty="0" smtClean="0"/>
              <a:t> in </a:t>
            </a:r>
            <a:r>
              <a:rPr lang="nb-NO" dirty="0" err="1" smtClean="0"/>
              <a:t>medication</a:t>
            </a:r>
            <a:r>
              <a:rPr lang="nb-NO" dirty="0" smtClean="0"/>
              <a:t> management</a:t>
            </a:r>
          </a:p>
          <a:p>
            <a:r>
              <a:rPr lang="nb-NO" dirty="0" smtClean="0"/>
              <a:t>No </a:t>
            </a:r>
            <a:r>
              <a:rPr lang="nb-NO" dirty="0" err="1" smtClean="0"/>
              <a:t>defined</a:t>
            </a:r>
            <a:r>
              <a:rPr lang="nb-NO" dirty="0" smtClean="0"/>
              <a:t> line management </a:t>
            </a:r>
            <a:r>
              <a:rPr lang="nb-NO" dirty="0" err="1" smtClean="0"/>
              <a:t>that</a:t>
            </a:r>
            <a:r>
              <a:rPr lang="nb-NO" dirty="0" smtClean="0"/>
              <a:t> has </a:t>
            </a:r>
            <a:r>
              <a:rPr lang="nb-NO" dirty="0" err="1" smtClean="0"/>
              <a:t>owership</a:t>
            </a:r>
            <a:r>
              <a:rPr lang="nb-NO" dirty="0" smtClean="0"/>
              <a:t> to standards</a:t>
            </a:r>
          </a:p>
          <a:p>
            <a:r>
              <a:rPr lang="nb-NO" dirty="0" err="1" smtClean="0"/>
              <a:t>Outcome</a:t>
            </a:r>
            <a:endParaRPr lang="nb-NO" dirty="0" smtClean="0"/>
          </a:p>
          <a:p>
            <a:pPr lvl="1"/>
            <a:r>
              <a:rPr lang="nb-NO" dirty="0" err="1" smtClean="0"/>
              <a:t>Relatively</a:t>
            </a:r>
            <a:r>
              <a:rPr lang="nb-NO" dirty="0" smtClean="0"/>
              <a:t> </a:t>
            </a:r>
            <a:r>
              <a:rPr lang="nb-NO" dirty="0" err="1" smtClean="0"/>
              <a:t>poor</a:t>
            </a:r>
            <a:r>
              <a:rPr lang="nb-NO" dirty="0" smtClean="0"/>
              <a:t> </a:t>
            </a:r>
            <a:r>
              <a:rPr lang="nb-NO" dirty="0" err="1" smtClean="0"/>
              <a:t>anchoring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standards </a:t>
            </a:r>
            <a:r>
              <a:rPr lang="nb-NO" dirty="0" err="1" smtClean="0"/>
              <a:t>locally</a:t>
            </a:r>
            <a:r>
              <a:rPr lang="nb-NO" dirty="0" smtClean="0"/>
              <a:t> at hospitals</a:t>
            </a:r>
          </a:p>
          <a:p>
            <a:pPr lvl="1"/>
            <a:r>
              <a:rPr lang="nb-NO" dirty="0" err="1" smtClean="0"/>
              <a:t>Unrealized</a:t>
            </a:r>
            <a:r>
              <a:rPr lang="nb-NO" dirty="0" smtClean="0"/>
              <a:t> plans for </a:t>
            </a:r>
            <a:r>
              <a:rPr lang="nb-NO" dirty="0" err="1" smtClean="0"/>
              <a:t>standardization</a:t>
            </a:r>
            <a:r>
              <a:rPr lang="nb-NO" dirty="0" smtClean="0"/>
              <a:t> and </a:t>
            </a:r>
            <a:r>
              <a:rPr lang="nb-NO" dirty="0" err="1" smtClean="0"/>
              <a:t>consolid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675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ew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structures</a:t>
            </a:r>
            <a:r>
              <a:rPr lang="nb-NO" dirty="0" smtClean="0"/>
              <a:t> – Regional Centre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887466" y="2739570"/>
            <a:ext cx="32721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Regional Centre Representatives </a:t>
            </a:r>
          </a:p>
          <a:p>
            <a:r>
              <a:rPr lang="nb-NO" dirty="0" smtClean="0"/>
              <a:t>(coordination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850662" y="2767795"/>
            <a:ext cx="17045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Hospital Partner</a:t>
            </a:r>
            <a:endParaRPr lang="en-US" dirty="0"/>
          </a:p>
        </p:txBody>
      </p:sp>
      <p:cxnSp>
        <p:nvCxnSpPr>
          <p:cNvPr id="6" name="Straight Arrow Connector 5"/>
          <p:cNvCxnSpPr>
            <a:endCxn id="5" idx="1"/>
          </p:cNvCxnSpPr>
          <p:nvPr/>
        </p:nvCxnSpPr>
        <p:spPr>
          <a:xfrm>
            <a:off x="8054352" y="2952116"/>
            <a:ext cx="1796310" cy="3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8078566" y="2506185"/>
            <a:ext cx="11801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Configuration</a:t>
            </a:r>
            <a:endParaRPr lang="nb-NO" sz="1400" dirty="0"/>
          </a:p>
          <a:p>
            <a:r>
              <a:rPr lang="nb-NO" sz="1400" dirty="0"/>
              <a:t>r</a:t>
            </a:r>
            <a:r>
              <a:rPr lang="nb-NO" sz="1400" dirty="0" smtClean="0"/>
              <a:t>equests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9860508" y="3393486"/>
            <a:ext cx="1797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Regional projects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8062775" y="3596722"/>
            <a:ext cx="1797733" cy="1336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070582" y="3150599"/>
            <a:ext cx="12457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Implementing </a:t>
            </a:r>
          </a:p>
          <a:p>
            <a:r>
              <a:rPr lang="nb-NO" sz="1400" dirty="0" smtClean="0"/>
              <a:t>changes</a:t>
            </a:r>
            <a:endParaRPr lang="en-US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9860508" y="4000577"/>
            <a:ext cx="19587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Hospital reception </a:t>
            </a:r>
          </a:p>
          <a:p>
            <a:r>
              <a:rPr lang="nb-NO" dirty="0"/>
              <a:t>p</a:t>
            </a:r>
            <a:r>
              <a:rPr lang="nb-NO" dirty="0" smtClean="0"/>
              <a:t>rojects/line org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054352" y="3863979"/>
            <a:ext cx="18560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Experience/knowledge</a:t>
            </a:r>
          </a:p>
          <a:p>
            <a:r>
              <a:rPr lang="nb-NO" sz="1400" dirty="0" smtClean="0"/>
              <a:t>training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8056627" y="4323742"/>
            <a:ext cx="1803881" cy="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12056" y="2349535"/>
            <a:ext cx="13837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Other health</a:t>
            </a:r>
          </a:p>
          <a:p>
            <a:r>
              <a:rPr lang="nb-NO" dirty="0" smtClean="0"/>
              <a:t>region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706652" y="3188308"/>
            <a:ext cx="663927" cy="643277"/>
            <a:chOff x="700571" y="1578759"/>
            <a:chExt cx="663927" cy="643277"/>
          </a:xfrm>
        </p:grpSpPr>
        <p:sp>
          <p:nvSpPr>
            <p:cNvPr id="16" name="Rounded Rectangle 15"/>
            <p:cNvSpPr/>
            <p:nvPr/>
          </p:nvSpPr>
          <p:spPr>
            <a:xfrm>
              <a:off x="700571" y="1578759"/>
              <a:ext cx="663927" cy="643277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8370" y="1606461"/>
              <a:ext cx="600185" cy="562222"/>
            </a:xfrm>
            <a:prstGeom prst="rect">
              <a:avLst/>
            </a:prstGeom>
          </p:spPr>
        </p:pic>
      </p:grpSp>
      <p:cxnSp>
        <p:nvCxnSpPr>
          <p:cNvPr id="18" name="Straight Arrow Connector 17"/>
          <p:cNvCxnSpPr/>
          <p:nvPr/>
        </p:nvCxnSpPr>
        <p:spPr>
          <a:xfrm>
            <a:off x="1618392" y="3239446"/>
            <a:ext cx="1262194" cy="343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688393" y="2761860"/>
            <a:ext cx="10583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Experience/</a:t>
            </a:r>
          </a:p>
          <a:p>
            <a:r>
              <a:rPr lang="nb-NO" sz="1400" dirty="0" smtClean="0"/>
              <a:t>knowledg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01301" y="4063384"/>
            <a:ext cx="10599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National </a:t>
            </a:r>
          </a:p>
          <a:p>
            <a:r>
              <a:rPr lang="nb-NO" dirty="0" smtClean="0"/>
              <a:t>functions</a:t>
            </a:r>
            <a:endParaRPr lang="en-US" dirty="0"/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1639674" y="4439219"/>
            <a:ext cx="1274123" cy="827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706218" y="3945814"/>
            <a:ext cx="10404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Feedback/</a:t>
            </a:r>
          </a:p>
          <a:p>
            <a:r>
              <a:rPr lang="nb-NO" sz="1400" dirty="0" smtClean="0"/>
              <a:t>suggestions</a:t>
            </a:r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4122156" y="4207424"/>
            <a:ext cx="25176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Regional network groups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808646" y="3096518"/>
            <a:ext cx="663927" cy="643277"/>
            <a:chOff x="700571" y="1578759"/>
            <a:chExt cx="663927" cy="643277"/>
          </a:xfrm>
        </p:grpSpPr>
        <p:sp>
          <p:nvSpPr>
            <p:cNvPr id="25" name="Rounded Rectangle 24"/>
            <p:cNvSpPr/>
            <p:nvPr/>
          </p:nvSpPr>
          <p:spPr>
            <a:xfrm>
              <a:off x="700571" y="1578759"/>
              <a:ext cx="663927" cy="643277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8370" y="1606461"/>
              <a:ext cx="600185" cy="562222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908147" y="3023470"/>
            <a:ext cx="663927" cy="643277"/>
            <a:chOff x="700571" y="1578759"/>
            <a:chExt cx="663927" cy="643277"/>
          </a:xfrm>
        </p:grpSpPr>
        <p:sp>
          <p:nvSpPr>
            <p:cNvPr id="28" name="Rounded Rectangle 27"/>
            <p:cNvSpPr/>
            <p:nvPr/>
          </p:nvSpPr>
          <p:spPr>
            <a:xfrm>
              <a:off x="700571" y="1578759"/>
              <a:ext cx="663927" cy="643277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38370" y="1606461"/>
              <a:ext cx="600185" cy="562222"/>
            </a:xfrm>
            <a:prstGeom prst="rect">
              <a:avLst/>
            </a:prstGeom>
          </p:spPr>
        </p:pic>
      </p:grp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849606">
            <a:off x="3369562" y="3367108"/>
            <a:ext cx="574761" cy="62834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8764708">
            <a:off x="7279322" y="2813001"/>
            <a:ext cx="574761" cy="62834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388278">
            <a:off x="2991918" y="2906978"/>
            <a:ext cx="574761" cy="62834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389832">
            <a:off x="6878471" y="3306078"/>
            <a:ext cx="574761" cy="62834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3769" y="3468590"/>
            <a:ext cx="574761" cy="62834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0020" y="3496395"/>
            <a:ext cx="574761" cy="62834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2201" y="3468590"/>
            <a:ext cx="574761" cy="62834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9942" y="3432666"/>
            <a:ext cx="574761" cy="62834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4703" y="3432666"/>
            <a:ext cx="574761" cy="628340"/>
          </a:xfrm>
          <a:prstGeom prst="rect">
            <a:avLst/>
          </a:prstGeom>
        </p:spPr>
      </p:pic>
      <p:cxnSp>
        <p:nvCxnSpPr>
          <p:cNvPr id="39" name="Straight Connector 38"/>
          <p:cNvCxnSpPr/>
          <p:nvPr/>
        </p:nvCxnSpPr>
        <p:spPr>
          <a:xfrm flipV="1">
            <a:off x="3606646" y="3032509"/>
            <a:ext cx="280179" cy="604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3886825" y="3303016"/>
            <a:ext cx="65076" cy="5765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V="1">
            <a:off x="4272450" y="3360672"/>
            <a:ext cx="2241" cy="8011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V="1">
            <a:off x="4848331" y="3377892"/>
            <a:ext cx="2241" cy="8011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V="1">
            <a:off x="5443413" y="3303016"/>
            <a:ext cx="1" cy="1296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6024233" y="3274998"/>
            <a:ext cx="1" cy="1296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V="1">
            <a:off x="6600232" y="3283693"/>
            <a:ext cx="1" cy="12965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H="1" flipV="1">
            <a:off x="6912750" y="3193811"/>
            <a:ext cx="117591" cy="10920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 flipH="1">
            <a:off x="7131929" y="2927756"/>
            <a:ext cx="189298" cy="297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Rounded Rectangle 47"/>
          <p:cNvSpPr/>
          <p:nvPr/>
        </p:nvSpPr>
        <p:spPr>
          <a:xfrm>
            <a:off x="2913797" y="2550708"/>
            <a:ext cx="5131558" cy="2124601"/>
          </a:xfrm>
          <a:prstGeom prst="round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7518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ew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structures</a:t>
            </a:r>
            <a:r>
              <a:rPr lang="nb-NO" dirty="0" smtClean="0"/>
              <a:t> – regional </a:t>
            </a:r>
            <a:r>
              <a:rPr lang="nb-NO" dirty="0" err="1" smtClean="0"/>
              <a:t>network</a:t>
            </a:r>
            <a:r>
              <a:rPr lang="nb-NO" dirty="0" smtClean="0"/>
              <a:t> </a:t>
            </a:r>
            <a:r>
              <a:rPr lang="nb-NO" dirty="0" err="1" smtClean="0"/>
              <a:t>group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404" y="2183641"/>
            <a:ext cx="10476036" cy="4008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0007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ew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proces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dirty="0" smtClean="0"/>
              <a:t>Three </a:t>
            </a:r>
            <a:r>
              <a:rPr lang="nb-NO" dirty="0" err="1" smtClean="0"/>
              <a:t>ways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initiating</a:t>
            </a:r>
            <a:r>
              <a:rPr lang="nb-NO" dirty="0" smtClean="0"/>
              <a:t> a </a:t>
            </a:r>
            <a:r>
              <a:rPr lang="nb-NO" dirty="0" err="1" smtClean="0"/>
              <a:t>process</a:t>
            </a:r>
            <a:endParaRPr lang="nb-NO" dirty="0" smtClean="0"/>
          </a:p>
          <a:p>
            <a:pPr lvl="1"/>
            <a:r>
              <a:rPr lang="nb-NO" dirty="0" err="1" smtClean="0"/>
              <a:t>Locally</a:t>
            </a:r>
            <a:r>
              <a:rPr lang="nb-NO" dirty="0" smtClean="0"/>
              <a:t> </a:t>
            </a:r>
            <a:r>
              <a:rPr lang="nb-NO" dirty="0" err="1" smtClean="0"/>
              <a:t>originated</a:t>
            </a:r>
            <a:r>
              <a:rPr lang="nb-NO" dirty="0" smtClean="0"/>
              <a:t> </a:t>
            </a:r>
            <a:r>
              <a:rPr lang="nb-NO" dirty="0" err="1" smtClean="0"/>
              <a:t>suggestions</a:t>
            </a:r>
            <a:r>
              <a:rPr lang="nb-NO" dirty="0" smtClean="0"/>
              <a:t> for </a:t>
            </a:r>
            <a:r>
              <a:rPr lang="nb-NO" dirty="0" err="1" smtClean="0"/>
              <a:t>change</a:t>
            </a:r>
            <a:r>
              <a:rPr lang="nb-NO" dirty="0" smtClean="0"/>
              <a:t>/</a:t>
            </a:r>
            <a:r>
              <a:rPr lang="nb-NO" dirty="0" err="1" smtClean="0"/>
              <a:t>improvement</a:t>
            </a:r>
            <a:endParaRPr lang="nb-NO" dirty="0" smtClean="0"/>
          </a:p>
          <a:p>
            <a:pPr lvl="1"/>
            <a:r>
              <a:rPr lang="nb-NO" dirty="0" smtClean="0"/>
              <a:t>Regional </a:t>
            </a:r>
            <a:r>
              <a:rPr lang="nb-NO" dirty="0" err="1" smtClean="0"/>
              <a:t>projects</a:t>
            </a:r>
            <a:r>
              <a:rPr lang="nb-NO" dirty="0" smtClean="0"/>
              <a:t> in </a:t>
            </a:r>
            <a:r>
              <a:rPr lang="nb-NO" dirty="0" err="1" smtClean="0"/>
              <a:t>need</a:t>
            </a:r>
            <a:r>
              <a:rPr lang="nb-NO" dirty="0" smtClean="0"/>
              <a:t> for standards </a:t>
            </a:r>
            <a:r>
              <a:rPr lang="nb-NO" dirty="0" err="1" smtClean="0"/>
              <a:t>assessment</a:t>
            </a:r>
            <a:r>
              <a:rPr lang="nb-NO" dirty="0" smtClean="0"/>
              <a:t> and </a:t>
            </a:r>
            <a:r>
              <a:rPr lang="nb-NO" dirty="0" err="1" smtClean="0"/>
              <a:t>development</a:t>
            </a:r>
            <a:endParaRPr lang="nb-NO" dirty="0" smtClean="0"/>
          </a:p>
          <a:p>
            <a:pPr lvl="1"/>
            <a:r>
              <a:rPr lang="nb-NO" dirty="0" smtClean="0"/>
              <a:t>Regional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coordinators</a:t>
            </a:r>
            <a:r>
              <a:rPr lang="nb-NO" dirty="0" smtClean="0"/>
              <a:t> </a:t>
            </a:r>
            <a:r>
              <a:rPr lang="nb-NO" dirty="0" err="1" smtClean="0"/>
              <a:t>initiating</a:t>
            </a:r>
            <a:r>
              <a:rPr lang="nb-NO" dirty="0" smtClean="0"/>
              <a:t> </a:t>
            </a:r>
            <a:r>
              <a:rPr lang="nb-NO" dirty="0" err="1" smtClean="0"/>
              <a:t>on</a:t>
            </a:r>
            <a:r>
              <a:rPr lang="nb-NO" dirty="0" smtClean="0"/>
              <a:t> </a:t>
            </a:r>
            <a:r>
              <a:rPr lang="nb-NO" dirty="0" err="1" smtClean="0"/>
              <a:t>own</a:t>
            </a:r>
            <a:r>
              <a:rPr lang="nb-NO" dirty="0" smtClean="0"/>
              <a:t> </a:t>
            </a:r>
            <a:r>
              <a:rPr lang="nb-NO" dirty="0" err="1" smtClean="0"/>
              <a:t>initiative</a:t>
            </a:r>
            <a:endParaRPr lang="nb-NO" dirty="0" smtClean="0"/>
          </a:p>
          <a:p>
            <a:pPr lvl="1"/>
            <a:endParaRPr lang="nb-NO" dirty="0"/>
          </a:p>
          <a:p>
            <a:r>
              <a:rPr lang="nb-NO" dirty="0" err="1" smtClean="0"/>
              <a:t>Daily</a:t>
            </a:r>
            <a:r>
              <a:rPr lang="nb-NO" dirty="0" smtClean="0"/>
              <a:t> </a:t>
            </a:r>
            <a:r>
              <a:rPr lang="nb-NO" dirty="0" err="1" smtClean="0"/>
              <a:t>meetings</a:t>
            </a:r>
            <a:r>
              <a:rPr lang="nb-NO" dirty="0" smtClean="0"/>
              <a:t> in </a:t>
            </a:r>
            <a:r>
              <a:rPr lang="nb-NO" dirty="0" err="1" smtClean="0"/>
              <a:t>the</a:t>
            </a:r>
            <a:r>
              <a:rPr lang="nb-NO" dirty="0" smtClean="0"/>
              <a:t> regional </a:t>
            </a:r>
            <a:r>
              <a:rPr lang="nb-NO" dirty="0" err="1" smtClean="0"/>
              <a:t>centre</a:t>
            </a:r>
            <a:endParaRPr lang="nb-NO" dirty="0" smtClean="0"/>
          </a:p>
          <a:p>
            <a:r>
              <a:rPr lang="nb-NO" dirty="0" err="1" smtClean="0"/>
              <a:t>Weekly</a:t>
            </a:r>
            <a:r>
              <a:rPr lang="nb-NO" dirty="0" smtClean="0"/>
              <a:t> </a:t>
            </a:r>
            <a:r>
              <a:rPr lang="nb-NO" dirty="0" err="1" smtClean="0"/>
              <a:t>meetings</a:t>
            </a:r>
            <a:r>
              <a:rPr lang="nb-NO" dirty="0" smtClean="0"/>
              <a:t> </a:t>
            </a:r>
            <a:r>
              <a:rPr lang="nb-NO" dirty="0" err="1" smtClean="0"/>
              <a:t>locally</a:t>
            </a:r>
            <a:r>
              <a:rPr lang="nb-NO" dirty="0" smtClean="0"/>
              <a:t> in hospitals</a:t>
            </a:r>
          </a:p>
          <a:p>
            <a:r>
              <a:rPr lang="nb-NO" dirty="0" smtClean="0"/>
              <a:t>Bi-</a:t>
            </a:r>
            <a:r>
              <a:rPr lang="nb-NO" dirty="0" err="1" smtClean="0"/>
              <a:t>weekly</a:t>
            </a:r>
            <a:r>
              <a:rPr lang="nb-NO" dirty="0" smtClean="0"/>
              <a:t> </a:t>
            </a:r>
            <a:r>
              <a:rPr lang="nb-NO" dirty="0" err="1" smtClean="0"/>
              <a:t>meetings</a:t>
            </a:r>
            <a:r>
              <a:rPr lang="nb-NO" dirty="0" smtClean="0"/>
              <a:t> in </a:t>
            </a:r>
            <a:r>
              <a:rPr lang="nb-NO" dirty="0" err="1" smtClean="0"/>
              <a:t>the</a:t>
            </a:r>
            <a:r>
              <a:rPr lang="nb-NO" dirty="0" smtClean="0"/>
              <a:t> regional </a:t>
            </a:r>
            <a:r>
              <a:rPr lang="nb-NO" dirty="0" err="1" smtClean="0"/>
              <a:t>network</a:t>
            </a:r>
            <a:r>
              <a:rPr lang="nb-NO" dirty="0" smtClean="0"/>
              <a:t> </a:t>
            </a:r>
            <a:r>
              <a:rPr lang="nb-NO" dirty="0" err="1" smtClean="0"/>
              <a:t>groups</a:t>
            </a:r>
            <a:endParaRPr lang="nb-NO" dirty="0" smtClean="0"/>
          </a:p>
          <a:p>
            <a:r>
              <a:rPr lang="nb-NO" dirty="0" err="1" smtClean="0"/>
              <a:t>Continuous</a:t>
            </a:r>
            <a:r>
              <a:rPr lang="nb-NO" dirty="0" smtClean="0"/>
              <a:t> </a:t>
            </a:r>
            <a:r>
              <a:rPr lang="nb-NO" dirty="0" err="1" smtClean="0"/>
              <a:t>access</a:t>
            </a:r>
            <a:r>
              <a:rPr lang="nb-NO" dirty="0" smtClean="0"/>
              <a:t> to </a:t>
            </a:r>
            <a:r>
              <a:rPr lang="nb-NO" dirty="0" err="1" smtClean="0"/>
              <a:t>information</a:t>
            </a:r>
            <a:r>
              <a:rPr lang="nb-NO" dirty="0" smtClean="0"/>
              <a:t> and </a:t>
            </a:r>
            <a:r>
              <a:rPr lang="nb-NO" dirty="0" err="1" smtClean="0"/>
              <a:t>participation</a:t>
            </a:r>
            <a:r>
              <a:rPr lang="nb-NO" dirty="0" smtClean="0"/>
              <a:t> in </a:t>
            </a:r>
            <a:r>
              <a:rPr lang="nb-NO" dirty="0" err="1" smtClean="0"/>
              <a:t>discussions</a:t>
            </a:r>
            <a:r>
              <a:rPr lang="nb-NO" dirty="0" smtClean="0"/>
              <a:t> via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platform</a:t>
            </a:r>
            <a:endParaRPr lang="nb-NO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8960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ew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platfor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134600" cy="4351338"/>
          </a:xfrm>
        </p:spPr>
        <p:txBody>
          <a:bodyPr>
            <a:normAutofit/>
          </a:bodyPr>
          <a:lstStyle/>
          <a:p>
            <a:r>
              <a:rPr lang="nb-NO" dirty="0" smtClean="0"/>
              <a:t>Web-</a:t>
            </a:r>
            <a:r>
              <a:rPr lang="nb-NO" dirty="0" err="1" smtClean="0"/>
              <a:t>based</a:t>
            </a:r>
            <a:r>
              <a:rPr lang="nb-NO" dirty="0" smtClean="0"/>
              <a:t> </a:t>
            </a:r>
            <a:r>
              <a:rPr lang="nb-NO" dirty="0" err="1" smtClean="0"/>
              <a:t>platform</a:t>
            </a:r>
            <a:r>
              <a:rPr lang="nb-NO" dirty="0" smtClean="0"/>
              <a:t> </a:t>
            </a:r>
            <a:r>
              <a:rPr lang="nb-NO" dirty="0" err="1" smtClean="0"/>
              <a:t>that</a:t>
            </a:r>
            <a:r>
              <a:rPr lang="nb-NO" dirty="0" smtClean="0"/>
              <a:t> all relevant </a:t>
            </a:r>
            <a:r>
              <a:rPr lang="nb-NO" dirty="0" err="1" smtClean="0"/>
              <a:t>actors</a:t>
            </a:r>
            <a:r>
              <a:rPr lang="nb-NO" dirty="0" smtClean="0"/>
              <a:t> </a:t>
            </a:r>
            <a:r>
              <a:rPr lang="nb-NO" dirty="0" err="1" smtClean="0"/>
              <a:t>across</a:t>
            </a:r>
            <a:r>
              <a:rPr lang="nb-NO" dirty="0" smtClean="0"/>
              <a:t> hospitals and </a:t>
            </a:r>
            <a:r>
              <a:rPr lang="nb-NO" dirty="0" err="1" smtClean="0"/>
              <a:t>projects</a:t>
            </a:r>
            <a:r>
              <a:rPr lang="nb-NO" dirty="0" smtClean="0"/>
              <a:t> </a:t>
            </a:r>
            <a:r>
              <a:rPr lang="nb-NO" dirty="0" err="1" smtClean="0"/>
              <a:t>may</a:t>
            </a:r>
            <a:r>
              <a:rPr lang="nb-NO" dirty="0" smtClean="0"/>
              <a:t> </a:t>
            </a:r>
            <a:r>
              <a:rPr lang="nb-NO" dirty="0" err="1" smtClean="0"/>
              <a:t>read</a:t>
            </a:r>
            <a:r>
              <a:rPr lang="nb-NO" dirty="0" smtClean="0"/>
              <a:t>, </a:t>
            </a:r>
            <a:r>
              <a:rPr lang="nb-NO" dirty="0" err="1" smtClean="0"/>
              <a:t>discuss</a:t>
            </a:r>
            <a:r>
              <a:rPr lang="nb-NO" dirty="0" smtClean="0"/>
              <a:t>, and </a:t>
            </a:r>
            <a:r>
              <a:rPr lang="nb-NO" dirty="0" err="1" smtClean="0"/>
              <a:t>follow</a:t>
            </a:r>
            <a:r>
              <a:rPr lang="nb-NO" dirty="0" smtClean="0"/>
              <a:t> up </a:t>
            </a:r>
            <a:r>
              <a:rPr lang="nb-NO" dirty="0" err="1" smtClean="0"/>
              <a:t>suggestions</a:t>
            </a:r>
            <a:r>
              <a:rPr lang="nb-NO" dirty="0" smtClean="0"/>
              <a:t> for </a:t>
            </a:r>
            <a:r>
              <a:rPr lang="nb-NO" dirty="0" err="1" smtClean="0"/>
              <a:t>change</a:t>
            </a:r>
            <a:r>
              <a:rPr lang="nb-NO" dirty="0" smtClean="0"/>
              <a:t>, and trace </a:t>
            </a:r>
            <a:r>
              <a:rPr lang="nb-NO" dirty="0" err="1" smtClean="0"/>
              <a:t>actual</a:t>
            </a:r>
            <a:r>
              <a:rPr lang="nb-NO" dirty="0" smtClean="0"/>
              <a:t> </a:t>
            </a:r>
            <a:r>
              <a:rPr lang="nb-NO" dirty="0" err="1" smtClean="0"/>
              <a:t>changes</a:t>
            </a:r>
            <a:r>
              <a:rPr lang="nb-NO" dirty="0" smtClean="0"/>
              <a:t>.</a:t>
            </a:r>
          </a:p>
          <a:p>
            <a:r>
              <a:rPr lang="nb-NO" dirty="0" err="1" smtClean="0"/>
              <a:t>Creating</a:t>
            </a:r>
            <a:r>
              <a:rPr lang="nb-NO" dirty="0" smtClean="0"/>
              <a:t> </a:t>
            </a:r>
            <a:r>
              <a:rPr lang="nb-NO" dirty="0" err="1" smtClean="0"/>
              <a:t>transparency</a:t>
            </a:r>
            <a:r>
              <a:rPr lang="nb-NO" dirty="0" smtClean="0"/>
              <a:t> in </a:t>
            </a:r>
            <a:r>
              <a:rPr lang="nb-NO" dirty="0" err="1" smtClean="0"/>
              <a:t>processes</a:t>
            </a:r>
            <a:r>
              <a:rPr lang="nb-NO" dirty="0" smtClean="0"/>
              <a:t> </a:t>
            </a:r>
            <a:r>
              <a:rPr lang="nb-NO" dirty="0" err="1" smtClean="0"/>
              <a:t>before</a:t>
            </a:r>
            <a:r>
              <a:rPr lang="nb-NO" dirty="0" smtClean="0"/>
              <a:t> </a:t>
            </a:r>
            <a:r>
              <a:rPr lang="nb-NO" dirty="0" err="1" smtClean="0"/>
              <a:t>decisions</a:t>
            </a:r>
            <a:endParaRPr lang="nb-NO" dirty="0" smtClean="0"/>
          </a:p>
          <a:p>
            <a:r>
              <a:rPr lang="nb-NO" dirty="0" err="1" smtClean="0"/>
              <a:t>Creating</a:t>
            </a:r>
            <a:r>
              <a:rPr lang="nb-NO" dirty="0" smtClean="0"/>
              <a:t> </a:t>
            </a:r>
            <a:r>
              <a:rPr lang="nb-NO" dirty="0" err="1" smtClean="0"/>
              <a:t>transparency</a:t>
            </a:r>
            <a:r>
              <a:rPr lang="nb-NO" dirty="0" smtClean="0"/>
              <a:t> in </a:t>
            </a:r>
            <a:r>
              <a:rPr lang="nb-NO" dirty="0" err="1" smtClean="0"/>
              <a:t>made</a:t>
            </a:r>
            <a:r>
              <a:rPr lang="nb-NO" dirty="0" smtClean="0"/>
              <a:t> </a:t>
            </a:r>
            <a:r>
              <a:rPr lang="nb-NO" dirty="0" err="1" smtClean="0"/>
              <a:t>decisions</a:t>
            </a:r>
            <a:r>
              <a:rPr lang="nb-NO" dirty="0" smtClean="0"/>
              <a:t>.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9817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277" y="-146667"/>
            <a:ext cx="10515600" cy="1325563"/>
          </a:xfrm>
        </p:spPr>
        <p:txBody>
          <a:bodyPr/>
          <a:lstStyle/>
          <a:p>
            <a:r>
              <a:rPr lang="nb-NO" dirty="0" smtClean="0"/>
              <a:t>New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platform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281" y="899600"/>
            <a:ext cx="7812281" cy="5753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902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Challenges and </a:t>
            </a:r>
            <a:r>
              <a:rPr lang="nb-NO" dirty="0" err="1" smtClean="0"/>
              <a:t>opportunities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</a:t>
            </a:r>
            <a:r>
              <a:rPr lang="nb-NO" dirty="0" err="1" smtClean="0"/>
              <a:t>new</a:t>
            </a:r>
            <a:r>
              <a:rPr lang="nb-NO" dirty="0" smtClean="0"/>
              <a:t>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mod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nb-NO" dirty="0" err="1" smtClean="0"/>
              <a:t>Advantages</a:t>
            </a:r>
            <a:r>
              <a:rPr lang="nb-NO" dirty="0" smtClean="0"/>
              <a:t>:</a:t>
            </a:r>
          </a:p>
          <a:p>
            <a:pPr lvl="1"/>
            <a:r>
              <a:rPr lang="nb-NO" dirty="0" err="1" smtClean="0"/>
              <a:t>Systematic</a:t>
            </a:r>
            <a:r>
              <a:rPr lang="nb-NO" dirty="0" smtClean="0"/>
              <a:t> case handling</a:t>
            </a:r>
          </a:p>
          <a:p>
            <a:pPr lvl="1"/>
            <a:r>
              <a:rPr lang="nb-NO" dirty="0" smtClean="0"/>
              <a:t>Fast </a:t>
            </a:r>
            <a:r>
              <a:rPr lang="nb-NO" dirty="0" err="1" smtClean="0"/>
              <a:t>dissemination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knowledge</a:t>
            </a:r>
            <a:r>
              <a:rPr lang="nb-NO" dirty="0" smtClean="0"/>
              <a:t> and </a:t>
            </a:r>
            <a:r>
              <a:rPr lang="nb-NO" dirty="0" err="1" smtClean="0"/>
              <a:t>information</a:t>
            </a:r>
            <a:endParaRPr lang="nb-NO" dirty="0" smtClean="0"/>
          </a:p>
          <a:p>
            <a:pPr lvl="1"/>
            <a:r>
              <a:rPr lang="nb-NO" dirty="0" err="1" smtClean="0"/>
              <a:t>Transparency</a:t>
            </a:r>
            <a:r>
              <a:rPr lang="nb-NO" dirty="0" smtClean="0"/>
              <a:t> in </a:t>
            </a:r>
            <a:r>
              <a:rPr lang="nb-NO" dirty="0" err="1" smtClean="0"/>
              <a:t>decision</a:t>
            </a:r>
            <a:r>
              <a:rPr lang="nb-NO" dirty="0" smtClean="0"/>
              <a:t> </a:t>
            </a:r>
            <a:r>
              <a:rPr lang="nb-NO" dirty="0" err="1" smtClean="0"/>
              <a:t>processes</a:t>
            </a:r>
            <a:r>
              <a:rPr lang="nb-NO" dirty="0" smtClean="0"/>
              <a:t> </a:t>
            </a:r>
            <a:r>
              <a:rPr lang="nb-NO" dirty="0" err="1" smtClean="0"/>
              <a:t>among</a:t>
            </a:r>
            <a:r>
              <a:rPr lang="nb-NO" dirty="0" smtClean="0"/>
              <a:t> all </a:t>
            </a:r>
            <a:r>
              <a:rPr lang="nb-NO" dirty="0" err="1" smtClean="0"/>
              <a:t>involved</a:t>
            </a:r>
            <a:r>
              <a:rPr lang="nb-NO" dirty="0" smtClean="0"/>
              <a:t> parts</a:t>
            </a:r>
          </a:p>
          <a:p>
            <a:pPr lvl="1"/>
            <a:r>
              <a:rPr lang="nb-NO" dirty="0" err="1" smtClean="0"/>
              <a:t>Decisions</a:t>
            </a:r>
            <a:r>
              <a:rPr lang="nb-NO" dirty="0" smtClean="0"/>
              <a:t> </a:t>
            </a:r>
            <a:r>
              <a:rPr lang="nb-NO" dirty="0" err="1" smtClean="0"/>
              <a:t>become</a:t>
            </a:r>
            <a:r>
              <a:rPr lang="nb-NO" dirty="0" smtClean="0"/>
              <a:t> </a:t>
            </a:r>
            <a:r>
              <a:rPr lang="nb-NO" dirty="0" err="1" smtClean="0"/>
              <a:t>locally</a:t>
            </a:r>
            <a:r>
              <a:rPr lang="nb-NO" dirty="0" smtClean="0"/>
              <a:t> </a:t>
            </a:r>
            <a:r>
              <a:rPr lang="nb-NO" dirty="0" err="1" smtClean="0"/>
              <a:t>anchored</a:t>
            </a:r>
            <a:endParaRPr lang="nb-NO" dirty="0" smtClean="0"/>
          </a:p>
          <a:p>
            <a:pPr lvl="1"/>
            <a:r>
              <a:rPr lang="nb-NO" dirty="0" err="1" smtClean="0"/>
              <a:t>Decisions</a:t>
            </a:r>
            <a:r>
              <a:rPr lang="nb-NO" dirty="0" smtClean="0"/>
              <a:t> </a:t>
            </a:r>
            <a:r>
              <a:rPr lang="nb-NO" dirty="0" err="1" smtClean="0"/>
              <a:t>are</a:t>
            </a:r>
            <a:r>
              <a:rPr lang="nb-NO" dirty="0" smtClean="0"/>
              <a:t> </a:t>
            </a:r>
            <a:r>
              <a:rPr lang="nb-NO" dirty="0" err="1" smtClean="0"/>
              <a:t>already</a:t>
            </a:r>
            <a:r>
              <a:rPr lang="nb-NO" dirty="0" smtClean="0"/>
              <a:t> </a:t>
            </a:r>
            <a:r>
              <a:rPr lang="nb-NO" dirty="0" err="1" smtClean="0"/>
              <a:t>anchored</a:t>
            </a:r>
            <a:r>
              <a:rPr lang="nb-NO" dirty="0" smtClean="0"/>
              <a:t> </a:t>
            </a:r>
            <a:r>
              <a:rPr lang="nb-NO" dirty="0" err="1" smtClean="0"/>
              <a:t>when</a:t>
            </a:r>
            <a:r>
              <a:rPr lang="nb-NO" dirty="0" smtClean="0"/>
              <a:t> IT systems </a:t>
            </a:r>
            <a:r>
              <a:rPr lang="nb-NO" dirty="0" err="1" smtClean="0"/>
              <a:t>change</a:t>
            </a:r>
            <a:endParaRPr lang="nb-NO" dirty="0" smtClean="0"/>
          </a:p>
          <a:p>
            <a:pPr lvl="1"/>
            <a:r>
              <a:rPr lang="nb-NO" dirty="0" err="1" smtClean="0"/>
              <a:t>Systematic</a:t>
            </a:r>
            <a:r>
              <a:rPr lang="nb-NO" dirty="0" smtClean="0"/>
              <a:t> training and </a:t>
            </a:r>
            <a:r>
              <a:rPr lang="nb-NO" dirty="0" err="1" smtClean="0"/>
              <a:t>sharing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experience</a:t>
            </a:r>
            <a:endParaRPr lang="nb-NO" dirty="0" smtClean="0"/>
          </a:p>
          <a:p>
            <a:pPr lvl="1"/>
            <a:r>
              <a:rPr lang="nb-NO" dirty="0" err="1" smtClean="0"/>
              <a:t>Streamlined</a:t>
            </a:r>
            <a:r>
              <a:rPr lang="nb-NO" dirty="0" smtClean="0"/>
              <a:t> handling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change</a:t>
            </a:r>
            <a:r>
              <a:rPr lang="nb-NO" dirty="0" smtClean="0"/>
              <a:t> </a:t>
            </a:r>
            <a:r>
              <a:rPr lang="nb-NO" dirty="0" err="1" smtClean="0"/>
              <a:t>requests</a:t>
            </a:r>
            <a:r>
              <a:rPr lang="nb-NO" dirty="0" smtClean="0"/>
              <a:t> and </a:t>
            </a:r>
            <a:r>
              <a:rPr lang="nb-NO" dirty="0" err="1" smtClean="0"/>
              <a:t>exceptions</a:t>
            </a:r>
            <a:endParaRPr lang="nb-NO" dirty="0" smtClean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 err="1" smtClean="0"/>
              <a:t>Potential</a:t>
            </a:r>
            <a:r>
              <a:rPr lang="nb-NO" dirty="0" smtClean="0"/>
              <a:t> </a:t>
            </a:r>
            <a:r>
              <a:rPr lang="nb-NO" dirty="0" err="1" smtClean="0"/>
              <a:t>challenges</a:t>
            </a:r>
            <a:r>
              <a:rPr lang="nb-NO" dirty="0" smtClean="0"/>
              <a:t>:</a:t>
            </a:r>
          </a:p>
          <a:p>
            <a:pPr lvl="1"/>
            <a:r>
              <a:rPr lang="nb-NO" dirty="0" smtClean="0"/>
              <a:t>Still a consensus-</a:t>
            </a:r>
            <a:r>
              <a:rPr lang="nb-NO" dirty="0" err="1" smtClean="0"/>
              <a:t>based</a:t>
            </a:r>
            <a:r>
              <a:rPr lang="nb-NO" dirty="0" smtClean="0"/>
              <a:t> </a:t>
            </a:r>
            <a:r>
              <a:rPr lang="nb-NO" dirty="0" err="1" smtClean="0"/>
              <a:t>power</a:t>
            </a:r>
            <a:r>
              <a:rPr lang="nb-NO" dirty="0" smtClean="0"/>
              <a:t> </a:t>
            </a:r>
            <a:r>
              <a:rPr lang="nb-NO" dirty="0" err="1" smtClean="0"/>
              <a:t>structure</a:t>
            </a:r>
            <a:r>
              <a:rPr lang="nb-NO" dirty="0" smtClean="0"/>
              <a:t> – hospitals </a:t>
            </a:r>
            <a:r>
              <a:rPr lang="nb-NO" dirty="0" err="1" smtClean="0"/>
              <a:t>may</a:t>
            </a:r>
            <a:r>
              <a:rPr lang="nb-NO" dirty="0" smtClean="0"/>
              <a:t> </a:t>
            </a:r>
            <a:r>
              <a:rPr lang="nb-NO" dirty="0" err="1" smtClean="0"/>
              <a:t>say</a:t>
            </a:r>
            <a:r>
              <a:rPr lang="nb-NO" dirty="0" smtClean="0"/>
              <a:t> </a:t>
            </a:r>
            <a:r>
              <a:rPr lang="nb-NO" dirty="0" err="1" smtClean="0"/>
              <a:t>no</a:t>
            </a:r>
            <a:r>
              <a:rPr lang="nb-NO" dirty="0" smtClean="0"/>
              <a:t> to a suggested standard</a:t>
            </a:r>
          </a:p>
          <a:p>
            <a:pPr lvl="2"/>
            <a:r>
              <a:rPr lang="nb-NO" dirty="0" smtClean="0"/>
              <a:t>Live </a:t>
            </a:r>
            <a:r>
              <a:rPr lang="nb-NO" dirty="0" err="1" smtClean="0"/>
              <a:t>with</a:t>
            </a:r>
            <a:r>
              <a:rPr lang="nb-NO" dirty="0" smtClean="0"/>
              <a:t> </a:t>
            </a:r>
            <a:r>
              <a:rPr lang="nb-NO" dirty="0" err="1" smtClean="0"/>
              <a:t>deviations</a:t>
            </a:r>
            <a:r>
              <a:rPr lang="nb-NO" dirty="0" smtClean="0"/>
              <a:t> and </a:t>
            </a:r>
            <a:r>
              <a:rPr lang="nb-NO" dirty="0" err="1" smtClean="0"/>
              <a:t>variations</a:t>
            </a:r>
            <a:endParaRPr lang="nb-NO" dirty="0" smtClean="0"/>
          </a:p>
          <a:p>
            <a:pPr lvl="1"/>
            <a:r>
              <a:rPr lang="nb-NO" dirty="0" smtClean="0"/>
              <a:t>The </a:t>
            </a:r>
            <a:r>
              <a:rPr lang="nb-NO" dirty="0" err="1" smtClean="0"/>
              <a:t>network</a:t>
            </a:r>
            <a:r>
              <a:rPr lang="nb-NO" dirty="0" smtClean="0"/>
              <a:t> </a:t>
            </a:r>
            <a:r>
              <a:rPr lang="nb-NO" dirty="0" err="1" smtClean="0"/>
              <a:t>structure</a:t>
            </a:r>
            <a:r>
              <a:rPr lang="nb-NO" dirty="0" smtClean="0"/>
              <a:t> </a:t>
            </a:r>
            <a:r>
              <a:rPr lang="nb-NO" dirty="0" err="1" smtClean="0"/>
              <a:t>itself</a:t>
            </a:r>
            <a:r>
              <a:rPr lang="nb-NO" dirty="0" smtClean="0"/>
              <a:t> </a:t>
            </a:r>
            <a:r>
              <a:rPr lang="nb-NO" dirty="0" err="1" smtClean="0"/>
              <a:t>becomes</a:t>
            </a:r>
            <a:r>
              <a:rPr lang="nb-NO" dirty="0" smtClean="0"/>
              <a:t> a </a:t>
            </a:r>
            <a:r>
              <a:rPr lang="nb-NO" dirty="0" err="1" smtClean="0"/>
              <a:t>heavy</a:t>
            </a:r>
            <a:r>
              <a:rPr lang="nb-NO" dirty="0" smtClean="0"/>
              <a:t> </a:t>
            </a:r>
            <a:r>
              <a:rPr lang="nb-NO" dirty="0" err="1" smtClean="0"/>
              <a:t>bureaucracy</a:t>
            </a:r>
            <a:endParaRPr lang="nb-NO" dirty="0"/>
          </a:p>
          <a:p>
            <a:pPr lvl="2"/>
            <a:r>
              <a:rPr lang="nb-NO" dirty="0" err="1" smtClean="0"/>
              <a:t>slower</a:t>
            </a:r>
            <a:r>
              <a:rPr lang="nb-NO" dirty="0" smtClean="0"/>
              <a:t> to </a:t>
            </a:r>
            <a:r>
              <a:rPr lang="nb-NO" dirty="0" err="1" smtClean="0"/>
              <a:t>move</a:t>
            </a:r>
            <a:endParaRPr lang="nb-NO" dirty="0" smtClean="0"/>
          </a:p>
          <a:p>
            <a:pPr lvl="1"/>
            <a:r>
              <a:rPr lang="nb-NO" dirty="0" err="1" smtClean="0"/>
              <a:t>Can</a:t>
            </a:r>
            <a:r>
              <a:rPr lang="nb-NO" dirty="0" smtClean="0"/>
              <a:t> it handle major </a:t>
            </a:r>
            <a:r>
              <a:rPr lang="nb-NO" dirty="0" err="1" smtClean="0"/>
              <a:t>changes</a:t>
            </a:r>
            <a:r>
              <a:rPr lang="nb-NO" dirty="0" smtClean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7246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 combination </a:t>
            </a:r>
            <a:r>
              <a:rPr lang="nb-NO" dirty="0" err="1" smtClean="0"/>
              <a:t>enables</a:t>
            </a:r>
            <a:r>
              <a:rPr lang="nb-NO" dirty="0" smtClean="0"/>
              <a:t> </a:t>
            </a:r>
            <a:r>
              <a:rPr lang="nb-NO" dirty="0" err="1" smtClean="0"/>
              <a:t>chang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8881" y="4367282"/>
            <a:ext cx="4674074" cy="104361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8803" y="3081041"/>
            <a:ext cx="3361686" cy="1286241"/>
          </a:xfrm>
          <a:prstGeom prst="rect">
            <a:avLst/>
          </a:prstGeom>
        </p:spPr>
      </p:pic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1008125926"/>
              </p:ext>
            </p:extLst>
          </p:nvPr>
        </p:nvGraphicFramePr>
        <p:xfrm>
          <a:off x="4115559" y="3413081"/>
          <a:ext cx="1980441" cy="17096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037" y="3124898"/>
            <a:ext cx="3103904" cy="2286001"/>
          </a:xfrm>
          <a:prstGeom prst="rect">
            <a:avLst/>
          </a:prstGeom>
        </p:spPr>
      </p:pic>
      <p:cxnSp>
        <p:nvCxnSpPr>
          <p:cNvPr id="17" name="Straight Arrow Connector 16"/>
          <p:cNvCxnSpPr>
            <a:stCxn id="15" idx="3"/>
          </p:cNvCxnSpPr>
          <p:nvPr/>
        </p:nvCxnSpPr>
        <p:spPr>
          <a:xfrm flipV="1">
            <a:off x="3712941" y="4267898"/>
            <a:ext cx="872707" cy="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5670645" y="4267898"/>
            <a:ext cx="60732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875408" y="2361993"/>
            <a:ext cx="2298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G</a:t>
            </a:r>
            <a:r>
              <a:rPr lang="nb-NO" dirty="0" smtClean="0"/>
              <a:t>oal-</a:t>
            </a:r>
            <a:r>
              <a:rPr lang="nb-NO" dirty="0" err="1" smtClean="0"/>
              <a:t>directed</a:t>
            </a:r>
            <a:r>
              <a:rPr lang="nb-NO" dirty="0" smtClean="0"/>
              <a:t> </a:t>
            </a:r>
            <a:r>
              <a:rPr lang="nb-NO" dirty="0" err="1" smtClean="0"/>
              <a:t>network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982519" y="2186376"/>
            <a:ext cx="26055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Network </a:t>
            </a:r>
            <a:r>
              <a:rPr lang="nb-NO" dirty="0" err="1" smtClean="0"/>
              <a:t>orchestration</a:t>
            </a:r>
            <a:r>
              <a:rPr lang="nb-NO" dirty="0" smtClean="0"/>
              <a:t>, </a:t>
            </a:r>
          </a:p>
          <a:p>
            <a:r>
              <a:rPr lang="nb-NO" dirty="0" smtClean="0"/>
              <a:t>Adaptive co-management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894727" y="2367218"/>
            <a:ext cx="21813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platfor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7715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Contributions</a:t>
            </a:r>
            <a:r>
              <a:rPr lang="nb-NO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The </a:t>
            </a:r>
            <a:r>
              <a:rPr lang="nb-NO" dirty="0" err="1" smtClean="0"/>
              <a:t>analytical</a:t>
            </a:r>
            <a:r>
              <a:rPr lang="nb-NO" dirty="0" smtClean="0"/>
              <a:t> lens </a:t>
            </a:r>
            <a:r>
              <a:rPr lang="nb-NO" dirty="0" err="1" smtClean="0"/>
              <a:t>contribute</a:t>
            </a:r>
            <a:r>
              <a:rPr lang="nb-NO" dirty="0" smtClean="0"/>
              <a:t> to </a:t>
            </a:r>
            <a:r>
              <a:rPr lang="nb-NO" dirty="0" err="1" smtClean="0"/>
              <a:t>understanding</a:t>
            </a:r>
            <a:r>
              <a:rPr lang="nb-NO" dirty="0" smtClean="0"/>
              <a:t> </a:t>
            </a:r>
            <a:r>
              <a:rPr lang="nb-NO" dirty="0" err="1" smtClean="0"/>
              <a:t>governance</a:t>
            </a:r>
            <a:r>
              <a:rPr lang="nb-NO" dirty="0" smtClean="0"/>
              <a:t> standards</a:t>
            </a:r>
            <a:endParaRPr lang="en-US" dirty="0" smtClean="0"/>
          </a:p>
          <a:p>
            <a:r>
              <a:rPr lang="nb-NO" dirty="0" smtClean="0"/>
              <a:t>Top-</a:t>
            </a:r>
            <a:r>
              <a:rPr lang="nb-NO" dirty="0" err="1" smtClean="0"/>
              <a:t>down</a:t>
            </a:r>
            <a:r>
              <a:rPr lang="nb-NO" dirty="0" smtClean="0"/>
              <a:t> </a:t>
            </a:r>
            <a:r>
              <a:rPr lang="nb-NO" dirty="0" err="1" smtClean="0"/>
              <a:t>vs</a:t>
            </a:r>
            <a:r>
              <a:rPr lang="nb-NO" dirty="0" smtClean="0"/>
              <a:t> </a:t>
            </a:r>
            <a:r>
              <a:rPr lang="nb-NO" dirty="0" err="1" smtClean="0"/>
              <a:t>bottom</a:t>
            </a:r>
            <a:r>
              <a:rPr lang="nb-NO" dirty="0" smtClean="0"/>
              <a:t>-up </a:t>
            </a:r>
            <a:r>
              <a:rPr lang="nb-NO" dirty="0" err="1" smtClean="0"/>
              <a:t>governance</a:t>
            </a:r>
            <a:endParaRPr lang="nb-NO" dirty="0" smtClean="0"/>
          </a:p>
          <a:p>
            <a:pPr lvl="1"/>
            <a:r>
              <a:rPr lang="nb-NO" dirty="0" err="1" smtClean="0"/>
              <a:t>Both</a:t>
            </a:r>
            <a:r>
              <a:rPr lang="nb-NO" dirty="0" smtClean="0"/>
              <a:t> at </a:t>
            </a:r>
            <a:r>
              <a:rPr lang="nb-NO" dirty="0" err="1" smtClean="0"/>
              <a:t>the</a:t>
            </a:r>
            <a:r>
              <a:rPr lang="nb-NO" dirty="0" smtClean="0"/>
              <a:t> same time, </a:t>
            </a:r>
            <a:r>
              <a:rPr lang="nb-NO" dirty="0" err="1" smtClean="0"/>
              <a:t>but</a:t>
            </a:r>
            <a:r>
              <a:rPr lang="nb-NO" dirty="0" smtClean="0"/>
              <a:t> in different parts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network</a:t>
            </a:r>
            <a:endParaRPr lang="nb-NO" dirty="0" smtClean="0"/>
          </a:p>
          <a:p>
            <a:r>
              <a:rPr lang="nb-NO" dirty="0" err="1" smtClean="0"/>
              <a:t>Being</a:t>
            </a:r>
            <a:r>
              <a:rPr lang="nb-NO" dirty="0" smtClean="0"/>
              <a:t> </a:t>
            </a:r>
            <a:r>
              <a:rPr lang="nb-NO" dirty="0" err="1" smtClean="0"/>
              <a:t>explicit</a:t>
            </a:r>
            <a:r>
              <a:rPr lang="nb-NO" dirty="0" smtClean="0"/>
              <a:t> </a:t>
            </a:r>
            <a:r>
              <a:rPr lang="nb-NO" dirty="0" err="1" smtClean="0"/>
              <a:t>on</a:t>
            </a:r>
            <a:r>
              <a:rPr lang="nb-NO" dirty="0" smtClean="0"/>
              <a:t>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standards in </a:t>
            </a:r>
            <a:r>
              <a:rPr lang="nb-NO" dirty="0" err="1" smtClean="0"/>
              <a:t>complex</a:t>
            </a:r>
            <a:r>
              <a:rPr lang="nb-NO" dirty="0" smtClean="0"/>
              <a:t> </a:t>
            </a:r>
            <a:r>
              <a:rPr lang="nb-NO" dirty="0" err="1" smtClean="0"/>
              <a:t>information</a:t>
            </a:r>
            <a:r>
              <a:rPr lang="nb-NO" dirty="0" smtClean="0"/>
              <a:t> </a:t>
            </a:r>
            <a:r>
              <a:rPr lang="nb-NO" dirty="0" err="1" smtClean="0"/>
              <a:t>infrastructures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21262927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err="1" smtClean="0"/>
              <a:t>Introduction</a:t>
            </a:r>
            <a:r>
              <a:rPr lang="nb-NO" dirty="0" smtClean="0"/>
              <a:t> to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</a:p>
          <a:p>
            <a:pPr lvl="1"/>
            <a:r>
              <a:rPr lang="nb-NO" dirty="0" smtClean="0"/>
              <a:t>Norwegian </a:t>
            </a:r>
            <a:r>
              <a:rPr lang="nb-NO" dirty="0" err="1" smtClean="0"/>
              <a:t>healthcare</a:t>
            </a:r>
            <a:r>
              <a:rPr lang="nb-NO" dirty="0" smtClean="0"/>
              <a:t> </a:t>
            </a:r>
            <a:r>
              <a:rPr lang="nb-NO" dirty="0" err="1" smtClean="0"/>
              <a:t>sector</a:t>
            </a:r>
            <a:endParaRPr lang="nb-NO" dirty="0" smtClean="0"/>
          </a:p>
          <a:p>
            <a:pPr lvl="1"/>
            <a:r>
              <a:rPr lang="nb-NO" dirty="0" smtClean="0"/>
              <a:t>The South </a:t>
            </a:r>
            <a:r>
              <a:rPr lang="nb-NO" dirty="0"/>
              <a:t>E</a:t>
            </a:r>
            <a:r>
              <a:rPr lang="nb-NO" dirty="0" smtClean="0"/>
              <a:t>ast </a:t>
            </a:r>
            <a:r>
              <a:rPr lang="nb-NO" dirty="0"/>
              <a:t>H</a:t>
            </a:r>
            <a:r>
              <a:rPr lang="nb-NO" dirty="0" smtClean="0"/>
              <a:t>ealth </a:t>
            </a:r>
            <a:r>
              <a:rPr lang="nb-NO" dirty="0"/>
              <a:t>R</a:t>
            </a:r>
            <a:r>
              <a:rPr lang="nb-NO" dirty="0" smtClean="0"/>
              <a:t>egion</a:t>
            </a:r>
          </a:p>
          <a:p>
            <a:pPr lvl="1"/>
            <a:r>
              <a:rPr lang="nb-NO" dirty="0" smtClean="0"/>
              <a:t>The </a:t>
            </a:r>
            <a:r>
              <a:rPr lang="nb-NO" dirty="0" err="1" smtClean="0"/>
              <a:t>complexity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hospitals</a:t>
            </a:r>
          </a:p>
          <a:p>
            <a:pPr lvl="1"/>
            <a:r>
              <a:rPr lang="nb-NO" dirty="0" smtClean="0"/>
              <a:t>The </a:t>
            </a:r>
            <a:r>
              <a:rPr lang="nb-NO" dirty="0" err="1" smtClean="0"/>
              <a:t>consequences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local</a:t>
            </a:r>
            <a:r>
              <a:rPr lang="nb-NO" dirty="0" smtClean="0"/>
              <a:t> </a:t>
            </a:r>
            <a:r>
              <a:rPr lang="nb-NO" dirty="0" err="1" smtClean="0"/>
              <a:t>autonomy</a:t>
            </a:r>
            <a:r>
              <a:rPr lang="nb-NO" dirty="0" smtClean="0"/>
              <a:t> in </a:t>
            </a:r>
            <a:r>
              <a:rPr lang="nb-NO" dirty="0" err="1" smtClean="0"/>
              <a:t>relation</a:t>
            </a:r>
            <a:r>
              <a:rPr lang="nb-NO" dirty="0" smtClean="0"/>
              <a:t> to </a:t>
            </a:r>
            <a:r>
              <a:rPr lang="nb-NO" dirty="0" err="1" smtClean="0"/>
              <a:t>complexity</a:t>
            </a:r>
            <a:endParaRPr lang="nb-NO" dirty="0" smtClean="0"/>
          </a:p>
          <a:p>
            <a:r>
              <a:rPr lang="nb-NO" dirty="0" smtClean="0"/>
              <a:t>Regional programs to </a:t>
            </a:r>
            <a:r>
              <a:rPr lang="nb-NO" dirty="0" err="1" smtClean="0"/>
              <a:t>improve</a:t>
            </a:r>
            <a:r>
              <a:rPr lang="nb-NO" dirty="0" smtClean="0"/>
              <a:t> IT </a:t>
            </a:r>
            <a:r>
              <a:rPr lang="nb-NO" dirty="0" err="1" smtClean="0"/>
              <a:t>portfolios</a:t>
            </a:r>
            <a:endParaRPr lang="nb-NO" dirty="0" smtClean="0"/>
          </a:p>
          <a:p>
            <a:pPr lvl="1"/>
            <a:r>
              <a:rPr lang="nb-NO" dirty="0" smtClean="0"/>
              <a:t>Top-</a:t>
            </a:r>
            <a:r>
              <a:rPr lang="nb-NO" dirty="0" err="1" smtClean="0"/>
              <a:t>down</a:t>
            </a:r>
            <a:endParaRPr lang="nb-NO" dirty="0" smtClean="0"/>
          </a:p>
          <a:p>
            <a:r>
              <a:rPr lang="nb-NO" dirty="0" smtClean="0"/>
              <a:t>New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structures</a:t>
            </a:r>
            <a:r>
              <a:rPr lang="nb-NO" dirty="0" smtClean="0"/>
              <a:t> and </a:t>
            </a:r>
            <a:r>
              <a:rPr lang="nb-NO" dirty="0" err="1" smtClean="0"/>
              <a:t>processes</a:t>
            </a:r>
            <a:endParaRPr lang="nb-NO" dirty="0" smtClean="0"/>
          </a:p>
          <a:p>
            <a:pPr lvl="1"/>
            <a:r>
              <a:rPr lang="nb-NO" dirty="0" err="1" smtClean="0"/>
              <a:t>Networked</a:t>
            </a:r>
            <a:r>
              <a:rPr lang="nb-NO" dirty="0" smtClean="0"/>
              <a:t>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2749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o, </a:t>
            </a:r>
            <a:r>
              <a:rPr lang="nb-NO" dirty="0" err="1" smtClean="0"/>
              <a:t>what</a:t>
            </a:r>
            <a:r>
              <a:rPr lang="nb-NO" dirty="0" smtClean="0"/>
              <a:t> is an e-</a:t>
            </a:r>
            <a:r>
              <a:rPr lang="nb-NO" dirty="0" err="1" smtClean="0"/>
              <a:t>health</a:t>
            </a:r>
            <a:r>
              <a:rPr lang="nb-NO" dirty="0" smtClean="0"/>
              <a:t> standard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“</a:t>
            </a:r>
            <a:r>
              <a:rPr lang="en-US" i="1" dirty="0" smtClean="0"/>
              <a:t>Syntactic</a:t>
            </a:r>
            <a:r>
              <a:rPr lang="en-US" i="1" dirty="0"/>
              <a:t>, semantic and </a:t>
            </a:r>
            <a:r>
              <a:rPr lang="en-US" i="1" dirty="0" smtClean="0"/>
              <a:t>functional standards</a:t>
            </a:r>
            <a:r>
              <a:rPr lang="en-US" i="1" dirty="0"/>
              <a:t>, implemented in healthcare IT solutions. These allow healthcare personnel to </a:t>
            </a:r>
            <a:r>
              <a:rPr lang="en-US" i="1" dirty="0" smtClean="0"/>
              <a:t>capture, store</a:t>
            </a:r>
            <a:r>
              <a:rPr lang="en-US" i="1" dirty="0"/>
              <a:t>, process and share information based on clinical practice needs</a:t>
            </a:r>
            <a:r>
              <a:rPr lang="en-US" i="1" dirty="0" smtClean="0"/>
              <a:t>.”</a:t>
            </a:r>
          </a:p>
          <a:p>
            <a:pPr marL="0" indent="0">
              <a:buNone/>
            </a:pPr>
            <a:endParaRPr lang="en-US" dirty="0" smtClean="0"/>
          </a:p>
          <a:p>
            <a:pPr lvl="1"/>
            <a:r>
              <a:rPr lang="nb-NO" dirty="0" smtClean="0"/>
              <a:t>or</a:t>
            </a:r>
            <a:endParaRPr lang="nb-NO" dirty="0"/>
          </a:p>
          <a:p>
            <a:endParaRPr lang="nb-NO" dirty="0" smtClean="0"/>
          </a:p>
          <a:p>
            <a:r>
              <a:rPr lang="nb-NO" dirty="0" smtClean="0"/>
              <a:t>Standards in IT systems </a:t>
            </a:r>
            <a:r>
              <a:rPr lang="nb-NO" dirty="0" err="1" smtClean="0"/>
              <a:t>that</a:t>
            </a:r>
            <a:r>
              <a:rPr lang="nb-NO" dirty="0" smtClean="0"/>
              <a:t> </a:t>
            </a:r>
            <a:r>
              <a:rPr lang="nb-NO" dirty="0" err="1" smtClean="0"/>
              <a:t>are</a:t>
            </a:r>
            <a:r>
              <a:rPr lang="nb-NO" dirty="0" smtClean="0"/>
              <a:t> </a:t>
            </a:r>
            <a:r>
              <a:rPr lang="nb-NO" dirty="0" err="1" smtClean="0"/>
              <a:t>directly</a:t>
            </a:r>
            <a:r>
              <a:rPr lang="nb-NO" dirty="0" smtClean="0"/>
              <a:t> </a:t>
            </a:r>
            <a:r>
              <a:rPr lang="nb-NO" dirty="0" err="1" smtClean="0"/>
              <a:t>related</a:t>
            </a:r>
            <a:r>
              <a:rPr lang="nb-NO" dirty="0" smtClean="0"/>
              <a:t> to </a:t>
            </a:r>
            <a:r>
              <a:rPr lang="nb-NO" dirty="0" err="1" smtClean="0"/>
              <a:t>clinical</a:t>
            </a:r>
            <a:r>
              <a:rPr lang="nb-NO" dirty="0" smtClean="0"/>
              <a:t> </a:t>
            </a:r>
            <a:r>
              <a:rPr lang="nb-NO" dirty="0" err="1" smtClean="0"/>
              <a:t>practice</a:t>
            </a:r>
            <a:r>
              <a:rPr lang="nb-NO" dirty="0" smtClean="0"/>
              <a:t> in </a:t>
            </a:r>
            <a:r>
              <a:rPr lang="nb-NO" dirty="0" err="1" smtClean="0"/>
              <a:t>healthcare</a:t>
            </a:r>
            <a:r>
              <a:rPr lang="nb-NO" dirty="0" smtClean="0"/>
              <a:t> service </a:t>
            </a:r>
            <a:r>
              <a:rPr lang="nb-NO" dirty="0" err="1" smtClean="0"/>
              <a:t>provision</a:t>
            </a:r>
            <a:r>
              <a:rPr lang="nb-NO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759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</a:t>
            </a:r>
            <a:r>
              <a:rPr lang="nb-NO" dirty="0" smtClean="0"/>
              <a:t>he Norwegian </a:t>
            </a:r>
            <a:r>
              <a:rPr lang="nb-NO" dirty="0" err="1" smtClean="0"/>
              <a:t>healthcare</a:t>
            </a:r>
            <a:r>
              <a:rPr lang="nb-NO" dirty="0" smtClean="0"/>
              <a:t> </a:t>
            </a:r>
            <a:r>
              <a:rPr lang="nb-NO" dirty="0" err="1" smtClean="0"/>
              <a:t>sect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err="1" smtClean="0"/>
              <a:t>Around</a:t>
            </a:r>
            <a:r>
              <a:rPr lang="nb-NO" dirty="0"/>
              <a:t> </a:t>
            </a:r>
            <a:r>
              <a:rPr lang="nb-NO" dirty="0" smtClean="0"/>
              <a:t>17 000 </a:t>
            </a:r>
            <a:r>
              <a:rPr lang="nb-NO" dirty="0" err="1" smtClean="0"/>
              <a:t>autonomous</a:t>
            </a:r>
            <a:r>
              <a:rPr lang="nb-NO" dirty="0" smtClean="0"/>
              <a:t> </a:t>
            </a:r>
            <a:r>
              <a:rPr lang="nb-NO" dirty="0" err="1" smtClean="0"/>
              <a:t>enterprises</a:t>
            </a:r>
            <a:r>
              <a:rPr lang="nb-NO" dirty="0" smtClean="0"/>
              <a:t> in </a:t>
            </a:r>
            <a:r>
              <a:rPr lang="nb-NO" dirty="0" err="1" smtClean="0"/>
              <a:t>the</a:t>
            </a:r>
            <a:r>
              <a:rPr lang="nb-NO" dirty="0" smtClean="0"/>
              <a:t> Norwegian </a:t>
            </a:r>
            <a:r>
              <a:rPr lang="nb-NO" dirty="0" err="1" smtClean="0"/>
              <a:t>healthcare</a:t>
            </a:r>
            <a:r>
              <a:rPr lang="nb-NO" dirty="0" smtClean="0"/>
              <a:t> </a:t>
            </a:r>
            <a:r>
              <a:rPr lang="nb-NO" dirty="0" err="1" smtClean="0"/>
              <a:t>sector</a:t>
            </a:r>
            <a:endParaRPr lang="nb-NO" dirty="0" smtClean="0"/>
          </a:p>
          <a:p>
            <a:pPr lvl="1"/>
            <a:r>
              <a:rPr lang="nb-NO" dirty="0" err="1" smtClean="0"/>
              <a:t>Each</a:t>
            </a:r>
            <a:r>
              <a:rPr lang="nb-NO" dirty="0" smtClean="0"/>
              <a:t> </a:t>
            </a:r>
            <a:r>
              <a:rPr lang="nb-NO" dirty="0" err="1" smtClean="0"/>
              <a:t>enterprise</a:t>
            </a:r>
            <a:r>
              <a:rPr lang="nb-NO" dirty="0" smtClean="0"/>
              <a:t> is </a:t>
            </a:r>
            <a:r>
              <a:rPr lang="nb-NO" dirty="0" err="1" smtClean="0"/>
              <a:t>responsible</a:t>
            </a:r>
            <a:r>
              <a:rPr lang="nb-NO" dirty="0" smtClean="0"/>
              <a:t> for </a:t>
            </a:r>
            <a:r>
              <a:rPr lang="nb-NO" dirty="0" err="1" smtClean="0"/>
              <a:t>quality</a:t>
            </a:r>
            <a:r>
              <a:rPr lang="nb-NO" dirty="0" smtClean="0"/>
              <a:t> and </a:t>
            </a:r>
            <a:r>
              <a:rPr lang="nb-NO" dirty="0" err="1" smtClean="0"/>
              <a:t>safety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care</a:t>
            </a:r>
            <a:r>
              <a:rPr lang="nb-NO" dirty="0" smtClean="0"/>
              <a:t> </a:t>
            </a:r>
          </a:p>
          <a:p>
            <a:pPr lvl="1"/>
            <a:r>
              <a:rPr lang="nb-NO" dirty="0" err="1" smtClean="0"/>
              <a:t>Each</a:t>
            </a:r>
            <a:r>
              <a:rPr lang="nb-NO" dirty="0" smtClean="0"/>
              <a:t> </a:t>
            </a:r>
            <a:r>
              <a:rPr lang="nb-NO" dirty="0" err="1" smtClean="0"/>
              <a:t>enterprise</a:t>
            </a:r>
            <a:r>
              <a:rPr lang="nb-NO" dirty="0" smtClean="0"/>
              <a:t> has </a:t>
            </a:r>
            <a:r>
              <a:rPr lang="nb-NO" dirty="0" err="1" smtClean="0"/>
              <a:t>their</a:t>
            </a:r>
            <a:r>
              <a:rPr lang="nb-NO" dirty="0" smtClean="0"/>
              <a:t> </a:t>
            </a:r>
            <a:r>
              <a:rPr lang="nb-NO" dirty="0" err="1" smtClean="0"/>
              <a:t>own</a:t>
            </a:r>
            <a:r>
              <a:rPr lang="nb-NO" dirty="0" smtClean="0"/>
              <a:t> </a:t>
            </a:r>
            <a:r>
              <a:rPr lang="nb-NO" dirty="0" err="1" smtClean="0"/>
              <a:t>responsibility</a:t>
            </a:r>
            <a:r>
              <a:rPr lang="nb-NO" dirty="0" smtClean="0"/>
              <a:t> to </a:t>
            </a:r>
            <a:r>
              <a:rPr lang="nb-NO" dirty="0" err="1" smtClean="0"/>
              <a:t>establish</a:t>
            </a:r>
            <a:r>
              <a:rPr lang="nb-NO" dirty="0" smtClean="0"/>
              <a:t> </a:t>
            </a:r>
            <a:r>
              <a:rPr lang="nb-NO" dirty="0" err="1" smtClean="0"/>
              <a:t>their</a:t>
            </a:r>
            <a:r>
              <a:rPr lang="nb-NO" dirty="0" smtClean="0"/>
              <a:t> </a:t>
            </a:r>
            <a:r>
              <a:rPr lang="nb-NO" dirty="0" err="1" smtClean="0"/>
              <a:t>own</a:t>
            </a:r>
            <a:r>
              <a:rPr lang="nb-NO" dirty="0" smtClean="0"/>
              <a:t> </a:t>
            </a:r>
            <a:r>
              <a:rPr lang="nb-NO" dirty="0" err="1" smtClean="0"/>
              <a:t>patient</a:t>
            </a:r>
            <a:r>
              <a:rPr lang="nb-NO" dirty="0" smtClean="0"/>
              <a:t> journal systems </a:t>
            </a:r>
            <a:r>
              <a:rPr lang="nb-NO" dirty="0" err="1" smtClean="0"/>
              <a:t>according</a:t>
            </a:r>
            <a:r>
              <a:rPr lang="nb-NO" dirty="0" smtClean="0"/>
              <a:t> to Norwegian </a:t>
            </a:r>
            <a:r>
              <a:rPr lang="nb-NO" dirty="0" err="1" smtClean="0"/>
              <a:t>law</a:t>
            </a:r>
            <a:r>
              <a:rPr lang="nb-NO" dirty="0" smtClean="0"/>
              <a:t> (pasientjournallovens §8).</a:t>
            </a:r>
          </a:p>
          <a:p>
            <a:pPr lvl="2"/>
            <a:r>
              <a:rPr lang="nb-NO" dirty="0" err="1" smtClean="0"/>
              <a:t>Procurement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IT systems is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enterprise’s</a:t>
            </a:r>
            <a:r>
              <a:rPr lang="nb-NO" dirty="0" smtClean="0"/>
              <a:t> </a:t>
            </a:r>
            <a:r>
              <a:rPr lang="nb-NO" dirty="0" err="1" smtClean="0"/>
              <a:t>responsibility</a:t>
            </a:r>
            <a:r>
              <a:rPr lang="nb-NO" dirty="0" smtClean="0"/>
              <a:t> </a:t>
            </a:r>
          </a:p>
          <a:p>
            <a:pPr lvl="2"/>
            <a:r>
              <a:rPr lang="nb-NO" dirty="0" err="1" smtClean="0"/>
              <a:t>Adoption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e-</a:t>
            </a:r>
            <a:r>
              <a:rPr lang="nb-NO" dirty="0" err="1" smtClean="0"/>
              <a:t>health</a:t>
            </a:r>
            <a:r>
              <a:rPr lang="nb-NO" dirty="0" smtClean="0"/>
              <a:t> standards is up to </a:t>
            </a:r>
            <a:r>
              <a:rPr lang="nb-NO" dirty="0" err="1" smtClean="0"/>
              <a:t>each</a:t>
            </a:r>
            <a:r>
              <a:rPr lang="nb-NO" dirty="0" smtClean="0"/>
              <a:t> </a:t>
            </a:r>
            <a:r>
              <a:rPr lang="nb-NO" dirty="0" err="1" smtClean="0"/>
              <a:t>enterprise</a:t>
            </a:r>
            <a:endParaRPr lang="nb-NO" dirty="0" smtClean="0"/>
          </a:p>
          <a:p>
            <a:pPr lvl="1"/>
            <a:r>
              <a:rPr lang="nb-NO" dirty="0" err="1" smtClean="0"/>
              <a:t>Each</a:t>
            </a:r>
            <a:r>
              <a:rPr lang="nb-NO" dirty="0" smtClean="0"/>
              <a:t> </a:t>
            </a:r>
            <a:r>
              <a:rPr lang="nb-NO" dirty="0" err="1" smtClean="0"/>
              <a:t>enterprise</a:t>
            </a:r>
            <a:r>
              <a:rPr lang="nb-NO" dirty="0" smtClean="0"/>
              <a:t> is </a:t>
            </a:r>
            <a:r>
              <a:rPr lang="nb-NO" dirty="0" err="1" smtClean="0"/>
              <a:t>responsible</a:t>
            </a:r>
            <a:r>
              <a:rPr lang="nb-NO" dirty="0" smtClean="0"/>
              <a:t> for </a:t>
            </a:r>
            <a:r>
              <a:rPr lang="nb-NO" dirty="0" err="1" smtClean="0"/>
              <a:t>information</a:t>
            </a:r>
            <a:r>
              <a:rPr lang="nb-NO" dirty="0" smtClean="0"/>
              <a:t> </a:t>
            </a:r>
            <a:r>
              <a:rPr lang="nb-NO" dirty="0" err="1" smtClean="0"/>
              <a:t>security</a:t>
            </a:r>
            <a:endParaRPr lang="nb-NO" dirty="0" smtClean="0"/>
          </a:p>
          <a:p>
            <a:pPr lvl="1"/>
            <a:endParaRPr lang="nb-NO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874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ational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structur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838" y="1470991"/>
            <a:ext cx="11577175" cy="5155387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>
          <a:xfrm>
            <a:off x="5813946" y="2922744"/>
            <a:ext cx="798394" cy="112594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665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6340434" cy="2794083"/>
          </a:xfrm>
        </p:spPr>
        <p:txBody>
          <a:bodyPr>
            <a:normAutofit fontScale="92500" lnSpcReduction="20000"/>
          </a:bodyPr>
          <a:lstStyle/>
          <a:p>
            <a:r>
              <a:rPr lang="nb-NO" dirty="0" err="1" smtClean="0"/>
              <a:t>Responsible</a:t>
            </a:r>
            <a:r>
              <a:rPr lang="nb-NO" dirty="0" smtClean="0"/>
              <a:t> for hospital </a:t>
            </a:r>
            <a:r>
              <a:rPr lang="nb-NO" dirty="0" err="1" smtClean="0"/>
              <a:t>healthcare</a:t>
            </a:r>
            <a:r>
              <a:rPr lang="nb-NO" dirty="0" smtClean="0"/>
              <a:t> for </a:t>
            </a:r>
            <a:r>
              <a:rPr lang="nb-NO" dirty="0" err="1" smtClean="0"/>
              <a:t>approx</a:t>
            </a:r>
            <a:r>
              <a:rPr lang="nb-NO" dirty="0" smtClean="0"/>
              <a:t>. 2.9 million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Norwegian </a:t>
            </a:r>
            <a:r>
              <a:rPr lang="nb-NO" dirty="0" err="1" smtClean="0"/>
              <a:t>population</a:t>
            </a:r>
            <a:endParaRPr lang="nb-NO" dirty="0" smtClean="0"/>
          </a:p>
          <a:p>
            <a:r>
              <a:rPr lang="en-US" altLang="nb-NO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0% state-owned</a:t>
            </a:r>
            <a:endParaRPr lang="nb-NO" dirty="0" smtClean="0"/>
          </a:p>
          <a:p>
            <a:r>
              <a:rPr lang="nb-NO" dirty="0" smtClean="0"/>
              <a:t>80 000 </a:t>
            </a:r>
            <a:r>
              <a:rPr lang="nb-NO" dirty="0" err="1" smtClean="0"/>
              <a:t>employees</a:t>
            </a:r>
            <a:endParaRPr lang="nb-NO" dirty="0" smtClean="0"/>
          </a:p>
          <a:p>
            <a:r>
              <a:rPr lang="nb-NO" dirty="0" err="1" smtClean="0"/>
              <a:t>Annual</a:t>
            </a:r>
            <a:r>
              <a:rPr lang="nb-NO" dirty="0" smtClean="0"/>
              <a:t> </a:t>
            </a:r>
            <a:r>
              <a:rPr lang="nb-NO" dirty="0" err="1" smtClean="0"/>
              <a:t>budget</a:t>
            </a:r>
            <a:r>
              <a:rPr lang="nb-NO" dirty="0" smtClean="0"/>
              <a:t>: 80 billion NOK</a:t>
            </a:r>
          </a:p>
          <a:p>
            <a:r>
              <a:rPr lang="nb-NO" dirty="0" smtClean="0"/>
              <a:t>11 </a:t>
            </a:r>
            <a:r>
              <a:rPr lang="nb-NO" dirty="0" err="1" smtClean="0"/>
              <a:t>health</a:t>
            </a:r>
            <a:r>
              <a:rPr lang="nb-NO" dirty="0" smtClean="0"/>
              <a:t> trusts</a:t>
            </a:r>
          </a:p>
          <a:p>
            <a:pPr marL="0" indent="0">
              <a:buNone/>
            </a:pPr>
            <a:endParaRPr lang="nb-NO" dirty="0" smtClean="0"/>
          </a:p>
          <a:p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4885" y="179368"/>
            <a:ext cx="3771900" cy="48196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372187" y="3164511"/>
            <a:ext cx="1294410" cy="15497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Rectangle 5"/>
          <p:cNvSpPr/>
          <p:nvPr/>
        </p:nvSpPr>
        <p:spPr>
          <a:xfrm>
            <a:off x="6056587" y="4704820"/>
            <a:ext cx="1685677" cy="5883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Regional </a:t>
            </a:r>
            <a:r>
              <a:rPr lang="nb-NO" dirty="0" err="1" smtClean="0"/>
              <a:t>health</a:t>
            </a:r>
            <a:r>
              <a:rPr lang="nb-NO" dirty="0" smtClean="0"/>
              <a:t> trust</a:t>
            </a:r>
            <a:endParaRPr lang="nb-NO" dirty="0"/>
          </a:p>
        </p:txBody>
      </p:sp>
      <p:sp>
        <p:nvSpPr>
          <p:cNvPr id="7" name="Rectangle 6"/>
          <p:cNvSpPr/>
          <p:nvPr/>
        </p:nvSpPr>
        <p:spPr>
          <a:xfrm>
            <a:off x="4999064" y="5516088"/>
            <a:ext cx="12722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ospitals</a:t>
            </a:r>
            <a:endParaRPr lang="nb-NO" dirty="0"/>
          </a:p>
        </p:txBody>
      </p:sp>
      <p:sp>
        <p:nvSpPr>
          <p:cNvPr id="9" name="Rectangle 8"/>
          <p:cNvSpPr/>
          <p:nvPr/>
        </p:nvSpPr>
        <p:spPr>
          <a:xfrm>
            <a:off x="5151464" y="5668488"/>
            <a:ext cx="12722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ospitals</a:t>
            </a:r>
            <a:endParaRPr lang="nb-NO" dirty="0"/>
          </a:p>
        </p:txBody>
      </p:sp>
      <p:sp>
        <p:nvSpPr>
          <p:cNvPr id="10" name="Rectangle 9"/>
          <p:cNvSpPr/>
          <p:nvPr/>
        </p:nvSpPr>
        <p:spPr>
          <a:xfrm>
            <a:off x="5303864" y="5820888"/>
            <a:ext cx="12722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ospitals</a:t>
            </a:r>
            <a:endParaRPr lang="nb-NO" dirty="0"/>
          </a:p>
        </p:txBody>
      </p:sp>
      <p:sp>
        <p:nvSpPr>
          <p:cNvPr id="11" name="Rectangle 10"/>
          <p:cNvSpPr/>
          <p:nvPr/>
        </p:nvSpPr>
        <p:spPr>
          <a:xfrm>
            <a:off x="5456264" y="5973288"/>
            <a:ext cx="12722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smtClean="0"/>
              <a:t>Hospitals</a:t>
            </a:r>
            <a:endParaRPr lang="nb-NO" dirty="0"/>
          </a:p>
        </p:txBody>
      </p:sp>
      <p:sp>
        <p:nvSpPr>
          <p:cNvPr id="12" name="Rectangle 11"/>
          <p:cNvSpPr/>
          <p:nvPr/>
        </p:nvSpPr>
        <p:spPr>
          <a:xfrm>
            <a:off x="7748842" y="5820163"/>
            <a:ext cx="1891109" cy="611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/>
              <a:t>Sykehuspartner</a:t>
            </a:r>
            <a:endParaRPr lang="nb-NO" sz="1200" dirty="0"/>
          </a:p>
        </p:txBody>
      </p:sp>
      <p:cxnSp>
        <p:nvCxnSpPr>
          <p:cNvPr id="14" name="Straight Arrow Connector 13"/>
          <p:cNvCxnSpPr>
            <a:stCxn id="6" idx="2"/>
          </p:cNvCxnSpPr>
          <p:nvPr/>
        </p:nvCxnSpPr>
        <p:spPr>
          <a:xfrm flipH="1">
            <a:off x="6271273" y="5293216"/>
            <a:ext cx="628153" cy="3752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endCxn id="12" idx="0"/>
          </p:cNvCxnSpPr>
          <p:nvPr/>
        </p:nvCxnSpPr>
        <p:spPr>
          <a:xfrm>
            <a:off x="6899425" y="5312550"/>
            <a:ext cx="1794972" cy="50761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</a:t>
            </a:r>
            <a:r>
              <a:rPr lang="nb-NO" dirty="0" smtClean="0"/>
              <a:t>he South East </a:t>
            </a:r>
            <a:r>
              <a:rPr lang="nb-NO" dirty="0"/>
              <a:t>H</a:t>
            </a:r>
            <a:r>
              <a:rPr lang="nb-NO" dirty="0" smtClean="0"/>
              <a:t>ealth </a:t>
            </a:r>
            <a:r>
              <a:rPr lang="nb-NO" dirty="0"/>
              <a:t>R</a:t>
            </a:r>
            <a:r>
              <a:rPr lang="nb-NO" dirty="0" smtClean="0"/>
              <a:t>egion</a:t>
            </a:r>
            <a:endParaRPr lang="nb-NO" dirty="0"/>
          </a:p>
        </p:txBody>
      </p:sp>
      <p:sp>
        <p:nvSpPr>
          <p:cNvPr id="17" name="Rectangle 16"/>
          <p:cNvSpPr/>
          <p:nvPr/>
        </p:nvSpPr>
        <p:spPr>
          <a:xfrm>
            <a:off x="6056586" y="3925508"/>
            <a:ext cx="1685677" cy="5883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 smtClean="0"/>
              <a:t>Ministry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H and C.</a:t>
            </a:r>
            <a:endParaRPr lang="nb-NO" dirty="0"/>
          </a:p>
        </p:txBody>
      </p:sp>
      <p:cxnSp>
        <p:nvCxnSpPr>
          <p:cNvPr id="19" name="Straight Arrow Connector 18"/>
          <p:cNvCxnSpPr>
            <a:stCxn id="17" idx="2"/>
            <a:endCxn id="6" idx="0"/>
          </p:cNvCxnSpPr>
          <p:nvPr/>
        </p:nvCxnSpPr>
        <p:spPr>
          <a:xfrm>
            <a:off x="6899425" y="4513904"/>
            <a:ext cx="1" cy="1909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2" idx="1"/>
            <a:endCxn id="11" idx="3"/>
          </p:cNvCxnSpPr>
          <p:nvPr/>
        </p:nvCxnSpPr>
        <p:spPr>
          <a:xfrm flipH="1">
            <a:off x="6728473" y="6125688"/>
            <a:ext cx="1020369" cy="1531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2968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</a:t>
            </a:r>
            <a:r>
              <a:rPr lang="nb-NO" dirty="0" smtClean="0"/>
              <a:t>he South East </a:t>
            </a:r>
            <a:r>
              <a:rPr lang="nb-NO" dirty="0"/>
              <a:t>H</a:t>
            </a:r>
            <a:r>
              <a:rPr lang="nb-NO" dirty="0" smtClean="0"/>
              <a:t>ealth </a:t>
            </a:r>
            <a:r>
              <a:rPr lang="nb-NO" dirty="0"/>
              <a:t>R</a:t>
            </a:r>
            <a:r>
              <a:rPr lang="nb-NO" dirty="0" smtClean="0"/>
              <a:t>eg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err="1" smtClean="0"/>
              <a:t>Each</a:t>
            </a:r>
            <a:r>
              <a:rPr lang="nb-NO" dirty="0" smtClean="0"/>
              <a:t> hospital trust is an </a:t>
            </a:r>
            <a:r>
              <a:rPr lang="nb-NO" dirty="0" err="1" smtClean="0"/>
              <a:t>autonomous</a:t>
            </a:r>
            <a:r>
              <a:rPr lang="nb-NO" dirty="0" smtClean="0"/>
              <a:t> </a:t>
            </a:r>
            <a:r>
              <a:rPr lang="nb-NO" dirty="0" err="1" smtClean="0"/>
              <a:t>enterprise</a:t>
            </a:r>
            <a:r>
              <a:rPr lang="nb-NO" dirty="0" smtClean="0"/>
              <a:t> </a:t>
            </a:r>
          </a:p>
          <a:p>
            <a:pPr lvl="1"/>
            <a:r>
              <a:rPr lang="nb-NO" dirty="0"/>
              <a:t>I</a:t>
            </a:r>
            <a:r>
              <a:rPr lang="nb-NO" dirty="0" smtClean="0"/>
              <a:t>nformation </a:t>
            </a:r>
            <a:r>
              <a:rPr lang="nb-NO" dirty="0" err="1" smtClean="0"/>
              <a:t>security</a:t>
            </a:r>
            <a:endParaRPr lang="nb-NO" dirty="0"/>
          </a:p>
          <a:p>
            <a:pPr lvl="1"/>
            <a:r>
              <a:rPr lang="nb-NO" dirty="0" err="1" smtClean="0"/>
              <a:t>Quality</a:t>
            </a:r>
            <a:r>
              <a:rPr lang="nb-NO" dirty="0" smtClean="0"/>
              <a:t> and </a:t>
            </a:r>
            <a:r>
              <a:rPr lang="nb-NO" dirty="0" err="1" smtClean="0"/>
              <a:t>safety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care</a:t>
            </a:r>
            <a:r>
              <a:rPr lang="nb-NO" dirty="0" smtClean="0"/>
              <a:t> </a:t>
            </a:r>
          </a:p>
          <a:p>
            <a:pPr lvl="1"/>
            <a:r>
              <a:rPr lang="nb-NO" dirty="0" err="1"/>
              <a:t>O</a:t>
            </a:r>
            <a:r>
              <a:rPr lang="nb-NO" dirty="0" err="1" smtClean="0"/>
              <a:t>wn</a:t>
            </a:r>
            <a:r>
              <a:rPr lang="nb-NO" dirty="0" smtClean="0"/>
              <a:t> </a:t>
            </a:r>
            <a:r>
              <a:rPr lang="nb-NO" dirty="0" err="1" smtClean="0"/>
              <a:t>patient</a:t>
            </a:r>
            <a:r>
              <a:rPr lang="nb-NO" dirty="0" smtClean="0"/>
              <a:t> journal systems</a:t>
            </a:r>
          </a:p>
          <a:p>
            <a:pPr lvl="1"/>
            <a:endParaRPr lang="nb-NO" dirty="0"/>
          </a:p>
          <a:p>
            <a:pPr marL="457200" lvl="1" indent="0">
              <a:buNone/>
            </a:pPr>
            <a:r>
              <a:rPr lang="nb-NO" dirty="0" smtClean="0"/>
              <a:t>-&gt; Consensus-</a:t>
            </a:r>
            <a:r>
              <a:rPr lang="nb-NO" dirty="0" err="1" smtClean="0"/>
              <a:t>based</a:t>
            </a:r>
            <a:r>
              <a:rPr lang="nb-NO" dirty="0" smtClean="0"/>
              <a:t> </a:t>
            </a:r>
            <a:r>
              <a:rPr lang="nb-NO" dirty="0" err="1" smtClean="0"/>
              <a:t>agreements</a:t>
            </a:r>
            <a:r>
              <a:rPr lang="nb-NO" dirty="0" smtClean="0"/>
              <a:t> </a:t>
            </a:r>
            <a:r>
              <a:rPr lang="nb-NO" dirty="0" err="1" smtClean="0"/>
              <a:t>across</a:t>
            </a:r>
            <a:r>
              <a:rPr lang="nb-NO" dirty="0" smtClean="0"/>
              <a:t> </a:t>
            </a:r>
            <a:r>
              <a:rPr lang="nb-NO" dirty="0" err="1" smtClean="0"/>
              <a:t>enterprises</a:t>
            </a:r>
            <a:endParaRPr lang="nb-NO" dirty="0" smtClean="0"/>
          </a:p>
          <a:p>
            <a:pPr lvl="1"/>
            <a:endParaRPr lang="nb-NO" dirty="0"/>
          </a:p>
          <a:p>
            <a:pPr lvl="1"/>
            <a:r>
              <a:rPr lang="nb-NO" dirty="0" err="1" smtClean="0"/>
              <a:t>Decades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implementation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IT systems has led to a plethora </a:t>
            </a:r>
            <a:r>
              <a:rPr lang="nb-NO" dirty="0" err="1" smtClean="0"/>
              <a:t>of</a:t>
            </a:r>
            <a:r>
              <a:rPr lang="nb-NO" dirty="0" smtClean="0"/>
              <a:t> systems </a:t>
            </a:r>
            <a:r>
              <a:rPr lang="nb-NO" dirty="0" err="1" smtClean="0"/>
              <a:t>that</a:t>
            </a:r>
            <a:r>
              <a:rPr lang="nb-NO" dirty="0" smtClean="0"/>
              <a:t> </a:t>
            </a:r>
            <a:r>
              <a:rPr lang="nb-NO" dirty="0" err="1" smtClean="0"/>
              <a:t>are</a:t>
            </a:r>
            <a:r>
              <a:rPr lang="nb-NO" dirty="0" smtClean="0"/>
              <a:t> not </a:t>
            </a:r>
            <a:r>
              <a:rPr lang="nb-NO" dirty="0" err="1" smtClean="0"/>
              <a:t>well</a:t>
            </a:r>
            <a:r>
              <a:rPr lang="nb-NO" dirty="0" smtClean="0"/>
              <a:t> </a:t>
            </a:r>
            <a:r>
              <a:rPr lang="nb-NO" dirty="0" err="1" smtClean="0"/>
              <a:t>integrated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</a:t>
            </a:r>
            <a:r>
              <a:rPr lang="nb-NO" dirty="0" err="1" smtClean="0"/>
              <a:t>each</a:t>
            </a:r>
            <a:r>
              <a:rPr lang="nb-NO" dirty="0" smtClean="0"/>
              <a:t> </a:t>
            </a:r>
            <a:r>
              <a:rPr lang="nb-NO" dirty="0" err="1" smtClean="0"/>
              <a:t>other</a:t>
            </a:r>
            <a:endParaRPr lang="nb-NO" dirty="0" smtClean="0"/>
          </a:p>
          <a:p>
            <a:pPr lvl="1"/>
            <a:r>
              <a:rPr lang="nb-NO" dirty="0" smtClean="0"/>
              <a:t>High </a:t>
            </a:r>
            <a:r>
              <a:rPr lang="nb-NO" dirty="0" err="1" smtClean="0"/>
              <a:t>variation</a:t>
            </a:r>
            <a:r>
              <a:rPr lang="nb-NO" dirty="0" smtClean="0"/>
              <a:t> in e-</a:t>
            </a:r>
            <a:r>
              <a:rPr lang="nb-NO" dirty="0" err="1" smtClean="0"/>
              <a:t>health</a:t>
            </a:r>
            <a:r>
              <a:rPr lang="nb-NO" dirty="0" smtClean="0"/>
              <a:t> standards in </a:t>
            </a:r>
            <a:r>
              <a:rPr lang="nb-NO" dirty="0" err="1" smtClean="0"/>
              <a:t>the</a:t>
            </a:r>
            <a:r>
              <a:rPr lang="nb-NO" dirty="0" smtClean="0"/>
              <a:t> systems</a:t>
            </a:r>
          </a:p>
          <a:p>
            <a:pPr marL="457200" lvl="1" indent="0">
              <a:buNone/>
            </a:pPr>
            <a:endParaRPr lang="nb-NO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449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699" y="461967"/>
            <a:ext cx="10515600" cy="541324"/>
          </a:xfrm>
        </p:spPr>
        <p:txBody>
          <a:bodyPr>
            <a:normAutofit fontScale="90000"/>
          </a:bodyPr>
          <a:lstStyle/>
          <a:p>
            <a:r>
              <a:rPr lang="nb-NO" dirty="0" err="1" smtClean="0"/>
              <a:t>Traditional</a:t>
            </a:r>
            <a:r>
              <a:rPr lang="nb-NO" dirty="0" smtClean="0"/>
              <a:t> </a:t>
            </a:r>
            <a:r>
              <a:rPr lang="nb-NO" dirty="0" err="1" smtClean="0"/>
              <a:t>governance</a:t>
            </a:r>
            <a:r>
              <a:rPr lang="nb-NO" dirty="0" smtClean="0"/>
              <a:t> </a:t>
            </a:r>
            <a:r>
              <a:rPr lang="nb-NO" dirty="0" err="1" smtClean="0"/>
              <a:t>processes</a:t>
            </a:r>
            <a:r>
              <a:rPr lang="nb-NO" dirty="0" smtClean="0"/>
              <a:t>, </a:t>
            </a:r>
            <a:r>
              <a:rPr lang="nb-NO" dirty="0" err="1" smtClean="0"/>
              <a:t>local</a:t>
            </a:r>
            <a:r>
              <a:rPr lang="nb-NO" dirty="0" smtClean="0"/>
              <a:t> and regional </a:t>
            </a:r>
            <a:r>
              <a:rPr lang="nb-NO" dirty="0" err="1" smtClean="0"/>
              <a:t>projects</a:t>
            </a:r>
            <a:endParaRPr lang="nb-NO" dirty="0"/>
          </a:p>
        </p:txBody>
      </p:sp>
      <p:pic>
        <p:nvPicPr>
          <p:cNvPr id="4" name="Bilde 12"/>
          <p:cNvPicPr/>
          <p:nvPr/>
        </p:nvPicPr>
        <p:blipFill>
          <a:blip r:embed="rId2"/>
          <a:stretch>
            <a:fillRect/>
          </a:stretch>
        </p:blipFill>
        <p:spPr>
          <a:xfrm>
            <a:off x="691704" y="1348637"/>
            <a:ext cx="10758115" cy="5255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84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3WBc4xKkWtA2DkcE8.g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9</TotalTime>
  <Words>1085</Words>
  <Application>Microsoft Office PowerPoint</Application>
  <PresentationFormat>Widescreen</PresentationFormat>
  <Paragraphs>310</Paragraphs>
  <Slides>2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ＭＳ Ｐゴシック</vt:lpstr>
      <vt:lpstr>Arial</vt:lpstr>
      <vt:lpstr>Calibri</vt:lpstr>
      <vt:lpstr>Calibri Light</vt:lpstr>
      <vt:lpstr>Wingdings</vt:lpstr>
      <vt:lpstr>Office Theme</vt:lpstr>
      <vt:lpstr>Adaptive Networked Governance of e-health Standards</vt:lpstr>
      <vt:lpstr>Theme – Governing standards in complex organizations</vt:lpstr>
      <vt:lpstr>Agenda</vt:lpstr>
      <vt:lpstr>So, what is an e-health standard?</vt:lpstr>
      <vt:lpstr>The Norwegian healthcare sector</vt:lpstr>
      <vt:lpstr>National governance structure</vt:lpstr>
      <vt:lpstr>The South East Health Region</vt:lpstr>
      <vt:lpstr>The South East Health Region</vt:lpstr>
      <vt:lpstr>Traditional governance processes, local and regional projects</vt:lpstr>
      <vt:lpstr>Support patient treatment and flow</vt:lpstr>
      <vt:lpstr>IT systems support many functions</vt:lpstr>
      <vt:lpstr>Many IT systems to support hospital operations</vt:lpstr>
      <vt:lpstr>Many different IT systems for the same functions</vt:lpstr>
      <vt:lpstr>Information in the DIPS application</vt:lpstr>
      <vt:lpstr>Flow of one type of information in the information systems in one hospital</vt:lpstr>
      <vt:lpstr>DIPS integration overview for one hospital</vt:lpstr>
      <vt:lpstr>From 2012: New regional strategy – cleaning the IT “mess”</vt:lpstr>
      <vt:lpstr>From 2012: Governance</vt:lpstr>
      <vt:lpstr>From 2012: Governance</vt:lpstr>
      <vt:lpstr>Challenges</vt:lpstr>
      <vt:lpstr>New governance structures – Regional Centre</vt:lpstr>
      <vt:lpstr>New governance structures – regional network groups</vt:lpstr>
      <vt:lpstr>New governance processes</vt:lpstr>
      <vt:lpstr>New governance platform</vt:lpstr>
      <vt:lpstr>New governance platform</vt:lpstr>
      <vt:lpstr>Challenges and opportunities with new governance model</vt:lpstr>
      <vt:lpstr>A combination enables change</vt:lpstr>
      <vt:lpstr>Contributions 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aptive Networked Governance of e-health Standards</dc:title>
  <dc:creator>Kristoffer Fossum</dc:creator>
  <cp:lastModifiedBy>Kristoffer Fossum</cp:lastModifiedBy>
  <cp:revision>58</cp:revision>
  <dcterms:created xsi:type="dcterms:W3CDTF">2019-04-09T08:00:43Z</dcterms:created>
  <dcterms:modified xsi:type="dcterms:W3CDTF">2019-04-10T11:45:10Z</dcterms:modified>
</cp:coreProperties>
</file>